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_rels/.rels" ContentType="application/vnd.openxmlformats-package.relationship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_rels/slideMaster1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3.xml.rels" ContentType="application/vnd.openxmlformats-package.relationships+xml"/>
  <Override PartName="/ppt/slideMasters/_rels/slideMaster4.xml.rels" ContentType="application/vnd.openxmlformats-package.relationships+xml"/>
  <Override PartName="/ppt/notesMasters/notesMaster1.xml" ContentType="application/vnd.openxmlformats-officedocument.presentationml.notesMaster+xml"/>
  <Override PartName="/ppt/notesMasters/_rels/notesMaster1.xml.rels" ContentType="application/vnd.openxmlformats-package.relationship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_rels/notesSlide2.xml.rels" ContentType="application/vnd.openxmlformats-package.relationships+xml"/>
  <Override PartName="/ppt/notesSlides/_rels/notesSlide11.xml.rels" ContentType="application/vnd.openxmlformats-package.relationships+xml"/>
  <Override PartName="/ppt/notesSlides/_rels/notesSlide3.xml.rels" ContentType="application/vnd.openxmlformats-package.relationships+xml"/>
  <Override PartName="/ppt/notesSlides/_rels/notesSlide12.xml.rels" ContentType="application/vnd.openxmlformats-package.relationships+xml"/>
  <Override PartName="/ppt/notesSlides/_rels/notesSlide4.xml.rels" ContentType="application/vnd.openxmlformats-package.relationship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2.xml" ContentType="application/vnd.openxmlformats-officedocument.presentationml.notesSlide+xml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slideLayouts/slideLayout3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_rels/slideLayout31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32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33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34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35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36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37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38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39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25.xml.rels" ContentType="application/vnd.openxmlformats-package.relationships+xml"/>
  <Override PartName="/ppt/slideLayouts/_rels/slideLayout26.xml.rels" ContentType="application/vnd.openxmlformats-package.relationships+xml"/>
  <Override PartName="/ppt/slideLayouts/_rels/slideLayout27.xml.rels" ContentType="application/vnd.openxmlformats-package.relationships+xml"/>
  <Override PartName="/ppt/slideLayouts/_rels/slideLayout28.xml.rels" ContentType="application/vnd.openxmlformats-package.relationships+xml"/>
  <Override PartName="/ppt/slideLayouts/_rels/slideLayout29.xml.rels" ContentType="application/vnd.openxmlformats-package.relationships+xml"/>
  <Override PartName="/ppt/slideLayouts/_rels/slideLayout30.xml.rels" ContentType="application/vnd.openxmlformats-package.relationships+xml"/>
  <Override PartName="/ppt/slideLayouts/_rels/slideLayout40.xml.rels" ContentType="application/vnd.openxmlformats-package.relationships+xml"/>
  <Override PartName="/ppt/slideLayouts/_rels/slideLayout41.xml.rels" ContentType="application/vnd.openxmlformats-package.relationships+xml"/>
  <Override PartName="/ppt/slideLayouts/_rels/slideLayout42.xml.rels" ContentType="application/vnd.openxmlformats-package.relationships+xml"/>
  <Override PartName="/ppt/slideLayouts/_rels/slideLayout43.xml.rels" ContentType="application/vnd.openxmlformats-package.relationships+xml"/>
  <Override PartName="/ppt/slideLayouts/_rels/slideLayout44.xml.rels" ContentType="application/vnd.openxmlformats-package.relationships+xml"/>
  <Override PartName="/ppt/slideLayouts/_rels/slideLayout45.xml.rels" ContentType="application/vnd.openxmlformats-package.relationships+xml"/>
  <Override PartName="/ppt/slideLayouts/_rels/slideLayout46.xml.rels" ContentType="application/vnd.openxmlformats-package.relationships+xml"/>
  <Override PartName="/ppt/slideLayouts/_rels/slideLayout47.xml.rels" ContentType="application/vnd.openxmlformats-package.relationships+xml"/>
  <Override PartName="/ppt/slideLayouts/_rels/slideLayout48.xml.rels" ContentType="application/vnd.openxmlformats-package.relationships+xml"/>
  <Override PartName="/ppt/media/image45.png" ContentType="image/png"/>
  <Override PartName="/ppt/media/image1.wmf" ContentType="image/x-wmf"/>
  <Override PartName="/ppt/media/image46.png" ContentType="image/png"/>
  <Override PartName="/ppt/media/image2.wmf" ContentType="image/x-wmf"/>
  <Override PartName="/ppt/media/image47.png" ContentType="image/png"/>
  <Override PartName="/ppt/media/image3.wmf" ContentType="image/x-wmf"/>
  <Override PartName="/ppt/media/image48.png" ContentType="image/png"/>
  <Override PartName="/ppt/media/image4.wmf" ContentType="image/x-wmf"/>
  <Override PartName="/ppt/media/image5.wmf" ContentType="image/x-wmf"/>
  <Override PartName="/ppt/media/image49.png" ContentType="image/png"/>
  <Override PartName="/ppt/media/image7.png" ContentType="image/png"/>
  <Override PartName="/ppt/media/image18.wmf" ContentType="image/x-wmf"/>
  <Override PartName="/ppt/media/image6.wmf" ContentType="image/x-wmf"/>
  <Override PartName="/ppt/media/image8.png" ContentType="image/png"/>
  <Override PartName="/ppt/media/image19.wmf" ContentType="image/x-wmf"/>
  <Override PartName="/ppt/media/image9.png" ContentType="image/png"/>
  <Override PartName="/ppt/media/image30.wmf" ContentType="image/x-wmf"/>
  <Override PartName="/ppt/media/image10.png" ContentType="image/png"/>
  <Override PartName="/ppt/media/image22.wmf" ContentType="image/x-wmf"/>
  <Override PartName="/ppt/media/image11.png" ContentType="image/png"/>
  <Override PartName="/ppt/media/image23.wmf" ContentType="image/x-wmf"/>
  <Override PartName="/ppt/media/image12.png" ContentType="image/png"/>
  <Override PartName="/ppt/media/image24.wmf" ContentType="image/x-wmf"/>
  <Override PartName="/ppt/media/image13.png" ContentType="image/png"/>
  <Override PartName="/ppt/media/image25.wmf" ContentType="image/x-wmf"/>
  <Override PartName="/ppt/media/image14.png" ContentType="image/png"/>
  <Override PartName="/ppt/media/image15.png" ContentType="image/png"/>
  <Override PartName="/ppt/media/image16.wmf" ContentType="image/x-wmf"/>
  <Override PartName="/ppt/media/image17.wmf" ContentType="image/x-wmf"/>
  <Override PartName="/ppt/media/image20.wmf" ContentType="image/x-wmf"/>
  <Override PartName="/ppt/media/image21.wmf" ContentType="image/x-wmf"/>
  <Override PartName="/ppt/media/image26.png" ContentType="image/png"/>
  <Override PartName="/ppt/media/image38.wmf" ContentType="image/x-wmf"/>
  <Override PartName="/ppt/media/image27.png" ContentType="image/png"/>
  <Override PartName="/ppt/media/image39.wmf" ContentType="image/x-wmf"/>
  <Override PartName="/ppt/media/image28.png" ContentType="image/png"/>
  <Override PartName="/ppt/media/image29.wmf" ContentType="image/x-wmf"/>
  <Override PartName="/ppt/media/image31.wmf" ContentType="image/x-wmf"/>
  <Override PartName="/ppt/media/image32.wmf" ContentType="image/x-wmf"/>
  <Override PartName="/ppt/media/image33.wmf" ContentType="image/x-wmf"/>
  <Override PartName="/ppt/media/image34.wmf" ContentType="image/x-wmf"/>
  <Override PartName="/ppt/media/image35.wmf" ContentType="image/x-wmf"/>
  <Override PartName="/ppt/media/image36.wmf" ContentType="image/x-wmf"/>
  <Override PartName="/ppt/media/image37.wmf" ContentType="image/x-wmf"/>
  <Override PartName="/ppt/media/image40.wmf" ContentType="image/x-wmf"/>
  <Override PartName="/ppt/media/image41.wmf" ContentType="image/x-wmf"/>
  <Override PartName="/ppt/media/image42.wmf" ContentType="image/x-wmf"/>
  <Override PartName="/ppt/media/image43.png" ContentType="image/png"/>
  <Override PartName="/ppt/media/image44.png" ContentType="image/pn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_rels/slide1.xml.rels" ContentType="application/vnd.openxmlformats-package.relationships+xml"/>
  <Override PartName="/ppt/slides/_rels/slide2.xml.rels" ContentType="application/vnd.openxmlformats-package.relationships+xml"/>
  <Override PartName="/ppt/slides/_rels/slide3.xml.rels" ContentType="application/vnd.openxmlformats-package.relationships+xml"/>
  <Override PartName="/ppt/slides/_rels/slide4.xml.rels" ContentType="application/vnd.openxmlformats-package.relationships+xml"/>
  <Override PartName="/ppt/slides/_rels/slide5.xml.rels" ContentType="application/vnd.openxmlformats-package.relationships+xml"/>
  <Override PartName="/ppt/slides/_rels/slide6.xml.rels" ContentType="application/vnd.openxmlformats-package.relationships+xml"/>
  <Override PartName="/ppt/slides/_rels/slide7.xml.rels" ContentType="application/vnd.openxmlformats-package.relationships+xml"/>
  <Override PartName="/ppt/slides/_rels/slide8.xml.rels" ContentType="application/vnd.openxmlformats-package.relationships+xml"/>
  <Override PartName="/ppt/slides/_rels/slide9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slides/_rels/slide12.xml.rels" ContentType="application/vnd.openxmlformats-package.relationships+xml"/>
  <Override PartName="/ppt/slides/_rels/slide13.xml.rels" ContentType="application/vnd.openxmlformats-package.relationships+xml"/>
  <Override PartName="/ppt/slides/_rels/slide14.xml.rels" ContentType="application/vnd.openxmlformats-package.relationships+xml"/>
  <Override PartName="/ppt/slides/_rels/slide15.xml.rels" ContentType="application/vnd.openxmlformats-package.relationships+xml"/>
  <Override PartName="/ppt/slides/_rels/slide16.xml.rels" ContentType="application/vnd.openxmlformats-package.relationships+xml"/>
  <Override PartName="/ppt/slides/_rels/slide17.xml.rels" ContentType="application/vnd.openxmlformats-package.relationship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presProps.xml" ContentType="application/vnd.openxmlformats-officedocument.presentationml.presProps+xml"/>
  <Override PartName="/ppt/_rels/presentation.xml.rels" ContentType="application/vnd.openxmlformats-package.relationships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  <p:sldMasterId id="2147483674" r:id="rId4"/>
    <p:sldMasterId id="2147483687" r:id="rId5"/>
  </p:sldMasterIdLst>
  <p:notesMasterIdLst>
    <p:notesMasterId r:id="rId6"/>
  </p:notesMasterIdLst>
  <p:sldIdLst>
    <p:sldId id="256" r:id="rId7"/>
    <p:sldId id="257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69" r:id="rId20"/>
    <p:sldId id="270" r:id="rId21"/>
    <p:sldId id="271" r:id="rId22"/>
    <p:sldId id="272" r:id="rId23"/>
  </p:sldIdLst>
  <p:sldSz cx="12193588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8" Type="http://schemas.openxmlformats.org/officeDocument/2006/relationships/slide" Target="slides/slide2.xml"/><Relationship Id="rId9" Type="http://schemas.openxmlformats.org/officeDocument/2006/relationships/slide" Target="slides/slide3.xml"/><Relationship Id="rId10" Type="http://schemas.openxmlformats.org/officeDocument/2006/relationships/slide" Target="slides/slide4.xml"/><Relationship Id="rId11" Type="http://schemas.openxmlformats.org/officeDocument/2006/relationships/slide" Target="slides/slide5.xml"/><Relationship Id="rId12" Type="http://schemas.openxmlformats.org/officeDocument/2006/relationships/slide" Target="slides/slide6.xml"/><Relationship Id="rId13" Type="http://schemas.openxmlformats.org/officeDocument/2006/relationships/slide" Target="slides/slide7.xml"/><Relationship Id="rId14" Type="http://schemas.openxmlformats.org/officeDocument/2006/relationships/slide" Target="slides/slide8.xml"/><Relationship Id="rId15" Type="http://schemas.openxmlformats.org/officeDocument/2006/relationships/slide" Target="slides/slide9.xml"/><Relationship Id="rId16" Type="http://schemas.openxmlformats.org/officeDocument/2006/relationships/slide" Target="slides/slide10.xml"/><Relationship Id="rId17" Type="http://schemas.openxmlformats.org/officeDocument/2006/relationships/slide" Target="slides/slide11.xml"/><Relationship Id="rId18" Type="http://schemas.openxmlformats.org/officeDocument/2006/relationships/slide" Target="slides/slide12.xml"/><Relationship Id="rId19" Type="http://schemas.openxmlformats.org/officeDocument/2006/relationships/slide" Target="slides/slide13.xml"/><Relationship Id="rId20" Type="http://schemas.openxmlformats.org/officeDocument/2006/relationships/slide" Target="slides/slide14.xml"/><Relationship Id="rId21" Type="http://schemas.openxmlformats.org/officeDocument/2006/relationships/slide" Target="slides/slide15.xml"/><Relationship Id="rId22" Type="http://schemas.openxmlformats.org/officeDocument/2006/relationships/slide" Target="slides/slide16.xml"/><Relationship Id="rId23" Type="http://schemas.openxmlformats.org/officeDocument/2006/relationships/slide" Target="slides/slide17.xml"/><Relationship Id="rId24" Type="http://schemas.openxmlformats.org/officeDocument/2006/relationships/presProps" Target="presProps.xml"/>
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ayout>
        <c:manualLayout>
          <c:layoutTarget val="inner"/>
          <c:xMode val="edge"/>
          <c:yMode val="edge"/>
          <c:x val="0.10233901883438"/>
          <c:y val="0.0323414186880053"/>
          <c:w val="0.885826990388355"/>
          <c:h val="0.827290155872301"/>
        </c:manualLayout>
      </c:layout>
      <c:lineChart>
        <c:grouping val="standar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Доля возвратов </c:v>
                </c:pt>
              </c:strCache>
            </c:strRef>
          </c:tx>
          <c:spPr>
            <a:solidFill>
              <a:srgbClr val="ff0000"/>
            </a:solidFill>
            <a:ln cap="rnd" w="28440">
              <a:solidFill>
                <a:srgbClr val="ff0000"/>
              </a:solidFill>
              <a:round/>
            </a:ln>
          </c:spPr>
          <c:marker>
            <c:symbol val="none"/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2"/>
                <c:pt idx="0">
                  <c:v>2.5</c:v>
                </c:pt>
                <c:pt idx="1">
                  <c:v>1.5</c:v>
                </c:pt>
                <c:pt idx="2">
                  <c:v>1.3</c:v>
                </c:pt>
                <c:pt idx="3">
                  <c:v>0.6</c:v>
                </c:pt>
                <c:pt idx="4">
                  <c:v>0.6</c:v>
                </c:pt>
                <c:pt idx="5">
                  <c:v>0.7</c:v>
                </c:pt>
                <c:pt idx="6">
                  <c:v>0.9</c:v>
                </c:pt>
                <c:pt idx="7">
                  <c:v>0.7</c:v>
                </c:pt>
                <c:pt idx="8">
                  <c:v>0.6</c:v>
                </c:pt>
                <c:pt idx="9">
                  <c:v>0.6</c:v>
                </c:pt>
                <c:pt idx="10">
                  <c:v>0.1</c:v>
                </c:pt>
                <c:pt idx="11">
                  <c:v>0.8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71552190"/>
        <c:axId val="98923981"/>
      </c:lineChart>
      <c:catAx>
        <c:axId val="7155219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de3e7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98923981"/>
        <c:crosses val="autoZero"/>
        <c:auto val="1"/>
        <c:lblAlgn val="ctr"/>
        <c:lblOffset val="100"/>
        <c:noMultiLvlLbl val="0"/>
      </c:catAx>
      <c:valAx>
        <c:axId val="98923981"/>
        <c:scaling>
          <c:orientation val="minMax"/>
        </c:scaling>
        <c:delete val="0"/>
        <c:axPos val="l"/>
        <c:majorGridlines>
          <c:spPr>
            <a:ln w="9360">
              <a:solidFill>
                <a:srgbClr val="dde3e7"/>
              </a:solidFill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Доля возвратов на доработку, %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71552190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title>
      <c:tx>
        <c:rich>
          <a:bodyPr rot="0"/>
          <a:lstStyle/>
          <a:p>
            <a:pPr>
              <a:defRPr b="0" lang="ru-RU" sz="14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  <a:r>
              <a:rPr b="0" lang="ru-RU" sz="1400" spc="-1" strike="noStrike">
                <a:solidFill>
                  <a:srgbClr val="6c8497"/>
                </a:solidFill>
                <a:latin typeface="SB Sans Text"/>
                <a:ea typeface="DejaVu Sans"/>
              </a:rPr>
              <a:t>Динамика сроков рассмотрения обращений и получения ответов на СМЭВ запросы</a:t>
            </a:r>
          </a:p>
        </c:rich>
      </c:tx>
      <c:overlay val="0"/>
      <c:spPr>
        <a:noFill/>
        <a:ln w="0">
          <a:noFill/>
        </a:ln>
      </c:spPr>
    </c:title>
    <c:autoTitleDeleted val="0"/>
    <c:plotArea>
      <c:barChart>
        <c:barDir val="col"/>
        <c:grouping val="clustere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ФНС</c:v>
                </c:pt>
              </c:strCache>
            </c:strRef>
          </c:tx>
          <c:spPr>
            <a:solidFill>
              <a:srgbClr val="9aeddd"/>
            </a:solidFill>
            <a:ln w="0">
              <a:noFill/>
            </a:ln>
          </c:spPr>
          <c:invertIfNegative val="0"/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2"/>
                <c:pt idx="0">
                  <c:v>0.36</c:v>
                </c:pt>
                <c:pt idx="1">
                  <c:v>0.8</c:v>
                </c:pt>
                <c:pt idx="2">
                  <c:v>1.65</c:v>
                </c:pt>
                <c:pt idx="3">
                  <c:v>3.3</c:v>
                </c:pt>
                <c:pt idx="4">
                  <c:v>2</c:v>
                </c:pt>
                <c:pt idx="5">
                  <c:v>2.5</c:v>
                </c:pt>
                <c:pt idx="6">
                  <c:v>1</c:v>
                </c:pt>
                <c:pt idx="7">
                  <c:v>1.5</c:v>
                </c:pt>
                <c:pt idx="8">
                  <c:v>0.5</c:v>
                </c:pt>
                <c:pt idx="9">
                  <c:v>0.5</c:v>
                </c:pt>
                <c:pt idx="10">
                  <c:v>0.8</c:v>
                </c:pt>
                <c:pt idx="11">
                  <c:v>1.3</c:v>
                </c:pt>
              </c:numCache>
            </c:numRef>
          </c:val>
        </c:ser>
        <c:ser>
          <c:idx val="1"/>
          <c:order val="1"/>
          <c:tx>
            <c:strRef>
              <c:f>label 1</c:f>
              <c:strCache>
                <c:ptCount val="1"/>
                <c:pt idx="0">
                  <c:v>ПФР</c:v>
                </c:pt>
              </c:strCache>
            </c:strRef>
          </c:tx>
          <c:spPr>
            <a:solidFill>
              <a:srgbClr val="a4b3bf"/>
            </a:solidFill>
            <a:ln w="0">
              <a:noFill/>
            </a:ln>
          </c:spPr>
          <c:invertIfNegative val="0"/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12"/>
                <c:pt idx="0">
                  <c:v>0.1</c:v>
                </c:pt>
                <c:pt idx="1">
                  <c:v>0.26</c:v>
                </c:pt>
                <c:pt idx="2">
                  <c:v>0.4</c:v>
                </c:pt>
                <c:pt idx="3">
                  <c:v>0.84</c:v>
                </c:pt>
                <c:pt idx="4">
                  <c:v>1.7</c:v>
                </c:pt>
                <c:pt idx="5">
                  <c:v>3.6</c:v>
                </c:pt>
                <c:pt idx="6">
                  <c:v>0.5</c:v>
                </c:pt>
                <c:pt idx="7">
                  <c:v>0.33</c:v>
                </c:pt>
                <c:pt idx="8">
                  <c:v>0.11</c:v>
                </c:pt>
                <c:pt idx="9">
                  <c:v>0.25</c:v>
                </c:pt>
                <c:pt idx="10">
                  <c:v>0.2</c:v>
                </c:pt>
                <c:pt idx="11">
                  <c:v>0.1</c:v>
                </c:pt>
              </c:numCache>
            </c:numRef>
          </c:val>
        </c:ser>
        <c:gapWidth val="150"/>
        <c:overlap val="0"/>
        <c:axId val="25583650"/>
        <c:axId val="29593104"/>
      </c:barChart>
      <c:lineChart>
        <c:grouping val="standard"/>
        <c:varyColors val="0"/>
        <c:ser>
          <c:idx val="2"/>
          <c:order val="2"/>
          <c:tx>
            <c:strRef>
              <c:f>label 2</c:f>
              <c:strCache>
                <c:ptCount val="1"/>
                <c:pt idx="0">
                  <c:v>Сроки рассмотрения</c:v>
                </c:pt>
              </c:strCache>
            </c:strRef>
          </c:tx>
          <c:spPr>
            <a:solidFill>
              <a:srgbClr val="ff0000"/>
            </a:solidFill>
            <a:ln cap="rnd" w="28440">
              <a:solidFill>
                <a:srgbClr val="ff0000"/>
              </a:solidFill>
              <a:round/>
            </a:ln>
          </c:spPr>
          <c:marker>
            <c:symbol val="none"/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2</c:f>
              <c:numCache>
                <c:formatCode>General</c:formatCode>
                <c:ptCount val="12"/>
                <c:pt idx="0">
                  <c:v>4.6</c:v>
                </c:pt>
                <c:pt idx="1">
                  <c:v>5.5</c:v>
                </c:pt>
                <c:pt idx="2">
                  <c:v>6.7</c:v>
                </c:pt>
                <c:pt idx="3">
                  <c:v>7.9</c:v>
                </c:pt>
                <c:pt idx="4">
                  <c:v>8.9</c:v>
                </c:pt>
                <c:pt idx="5">
                  <c:v>8</c:v>
                </c:pt>
                <c:pt idx="6">
                  <c:v>4.7</c:v>
                </c:pt>
                <c:pt idx="7">
                  <c:v>4.6</c:v>
                </c:pt>
                <c:pt idx="8">
                  <c:v>5.1</c:v>
                </c:pt>
                <c:pt idx="9">
                  <c:v>5.9</c:v>
                </c:pt>
                <c:pt idx="10">
                  <c:v>7.8</c:v>
                </c:pt>
                <c:pt idx="11">
                  <c:v>5.8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67420927"/>
        <c:axId val="48085934"/>
      </c:lineChart>
      <c:catAx>
        <c:axId val="67420927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de3e7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48085934"/>
        <c:crosses val="autoZero"/>
        <c:auto val="1"/>
        <c:lblAlgn val="ctr"/>
        <c:lblOffset val="100"/>
        <c:noMultiLvlLbl val="0"/>
      </c:catAx>
      <c:valAx>
        <c:axId val="48085934"/>
        <c:scaling>
          <c:orientation val="minMax"/>
        </c:scaling>
        <c:delete val="0"/>
        <c:axPos val="l"/>
        <c:majorGridlines>
          <c:spPr>
            <a:ln w="9360">
              <a:solidFill>
                <a:srgbClr val="dde3e7"/>
              </a:solidFill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Срок рассмотрения, дн 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67420927"/>
        <c:crosses val="autoZero"/>
        <c:crossBetween val="between"/>
      </c:valAx>
      <c:catAx>
        <c:axId val="25583650"/>
        <c:scaling>
          <c:orientation val="minMax"/>
        </c:scaling>
        <c:delete val="1"/>
        <c:axPos val="t"/>
        <c:numFmt formatCode="[$-419]dd/mm/yyyy" sourceLinked="1"/>
        <c:majorTickMark val="out"/>
        <c:minorTickMark val="none"/>
        <c:tickLblPos val="nextTo"/>
        <c:spPr>
          <a:ln w="9360">
            <a:solidFill>
              <a:srgbClr val="878787"/>
            </a:solidFill>
            <a:round/>
          </a:ln>
        </c:spPr>
        <c:txPr>
          <a:bodyPr/>
          <a:lstStyle/>
          <a:p>
            <a:pPr>
              <a:defRPr b="0" sz="1000" spc="-1" strike="noStrike">
                <a:solidFill>
                  <a:srgbClr val="000000"/>
                </a:solidFill>
                <a:latin typeface="Arial"/>
                <a:ea typeface="DejaVu Sans"/>
              </a:defRPr>
            </a:pPr>
          </a:p>
        </c:txPr>
        <c:crossAx val="29593104"/>
        <c:auto val="1"/>
        <c:lblAlgn val="ctr"/>
        <c:lblOffset val="100"/>
        <c:noMultiLvlLbl val="0"/>
      </c:catAx>
      <c:valAx>
        <c:axId val="29593104"/>
        <c:scaling>
          <c:orientation val="minMax"/>
        </c:scaling>
        <c:delete val="0"/>
        <c:axPos val="r"/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Срок получения ответа СМЭВ, дн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out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25583650"/>
        <c:crosses val="max"/>
        <c:crossBetween val="between"/>
      </c:valAx>
      <c:spPr>
        <a:noFill/>
        <a:ln w="0">
          <a:noFill/>
        </a:ln>
      </c:spPr>
    </c:plotArea>
    <c:legend>
      <c:legendPos val="b"/>
      <c:overlay val="0"/>
      <c:spPr>
        <a:noFill/>
        <a:ln w="0">
          <a:noFill/>
        </a:ln>
      </c:spPr>
      <c:txPr>
        <a:bodyPr/>
        <a:lstStyle/>
        <a:p>
          <a:pPr>
            <a:defRPr b="0" sz="900" spc="-1" strike="noStrike">
              <a:solidFill>
                <a:srgbClr val="6c8497"/>
              </a:solidFill>
              <a:latin typeface="SB Sans Text"/>
              <a:ea typeface="DejaVu Sans"/>
            </a:defRPr>
          </a:pPr>
        </a:p>
      </c:txPr>
    </c:legend>
    <c:plotVisOnly val="1"/>
    <c:dispBlanksAs val="gap"/>
  </c:chart>
  <c:spPr>
    <a:noFill/>
    <a:ln w="9360">
      <a:noFill/>
    </a:ln>
  </c:sp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ineChart>
        <c:grouping val="standard"/>
        <c:varyColors val="0"/>
        <c:ser>
          <c:idx val="0"/>
          <c:order val="0"/>
          <c:tx>
            <c:strRef>
              <c:f>label 0</c:f>
              <c:strCache>
                <c:ptCount val="1"/>
                <c:pt idx="0">
                  <c:v>Нарушение стандартов оказания услуг,%</c:v>
                </c:pt>
              </c:strCache>
            </c:strRef>
          </c:tx>
          <c:spPr>
            <a:solidFill>
              <a:srgbClr val="ff0000"/>
            </a:solidFill>
            <a:ln cap="rnd" w="28440">
              <a:solidFill>
                <a:srgbClr val="ff0000"/>
              </a:solidFill>
              <a:round/>
            </a:ln>
          </c:spPr>
          <c:marker>
            <c:symbol val="none"/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12"/>
                <c:pt idx="0">
                  <c:v>28</c:v>
                </c:pt>
                <c:pt idx="1">
                  <c:v>22</c:v>
                </c:pt>
                <c:pt idx="2">
                  <c:v>17</c:v>
                </c:pt>
                <c:pt idx="3">
                  <c:v>6</c:v>
                </c:pt>
                <c:pt idx="4">
                  <c:v>5</c:v>
                </c:pt>
                <c:pt idx="5">
                  <c:v>3</c:v>
                </c:pt>
                <c:pt idx="6">
                  <c:v>3</c:v>
                </c:pt>
                <c:pt idx="7">
                  <c:v>4</c:v>
                </c:pt>
                <c:pt idx="8">
                  <c:v>6</c:v>
                </c:pt>
                <c:pt idx="9">
                  <c:v>4</c:v>
                </c:pt>
                <c:pt idx="10">
                  <c:v>2</c:v>
                </c:pt>
                <c:pt idx="11">
                  <c:v>3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0"/>
        <c:axId val="82002443"/>
        <c:axId val="82088724"/>
      </c:lineChart>
      <c:catAx>
        <c:axId val="8200244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de3e7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82088724"/>
        <c:crosses val="autoZero"/>
        <c:auto val="1"/>
        <c:lblAlgn val="ctr"/>
        <c:lblOffset val="100"/>
        <c:noMultiLvlLbl val="0"/>
      </c:catAx>
      <c:valAx>
        <c:axId val="82088724"/>
        <c:scaling>
          <c:orientation val="minMax"/>
        </c:scaling>
        <c:delete val="0"/>
        <c:axPos val="l"/>
        <c:majorGridlines>
          <c:spPr>
            <a:ln w="9360">
              <a:solidFill>
                <a:srgbClr val="dde3e7"/>
              </a:solidFill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Доля обращений, обработанных с отклонением, %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82002443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ineChart>
        <c:grouping val="standard"/>
        <c:varyColors val="0"/>
        <c:ser>
          <c:idx val="0"/>
          <c:order val="0"/>
          <c:spPr>
            <a:solidFill>
              <a:srgbClr val="20b598"/>
            </a:solidFill>
            <a:ln cap="rnd" w="28440">
              <a:solidFill>
                <a:srgbClr val="20b598"/>
              </a:solidFill>
              <a:round/>
            </a:ln>
          </c:spPr>
          <c:marker>
            <c:symbol val="circle"/>
            <c:size val="5"/>
            <c:spPr>
              <a:solidFill>
                <a:srgbClr val="20b598"/>
              </a:solidFill>
            </c:spPr>
          </c:marker>
          <c:cat>
            <c:strRef>
              <c:f>categories</c:f>
              <c:strCache>
                <c:ptCount val="8"/>
                <c:pt idx="0">
                  <c:v>Май</c:v>
                </c:pt>
                <c:pt idx="1">
                  <c:v>Июнь</c:v>
                </c:pt>
                <c:pt idx="2">
                  <c:v>Июль</c:v>
                </c:pt>
                <c:pt idx="3">
                  <c:v>Август</c:v>
                </c:pt>
                <c:pt idx="4">
                  <c:v>Сентябрь</c:v>
                </c:pt>
                <c:pt idx="5">
                  <c:v>Октябрь</c:v>
                </c:pt>
                <c:pt idx="6">
                  <c:v>Ноябрь</c:v>
                </c:pt>
                <c:pt idx="7">
                  <c:v>Декабрь</c:v>
                </c:pt>
              </c:strCache>
            </c:strRef>
          </c:cat>
          <c:smooth val="0"/>
        </c:ser>
        <c:ser>
          <c:idx val="1"/>
          <c:order val="1"/>
          <c:tx>
            <c:strRef>
              <c:f>label 0</c:f>
              <c:strCache>
                <c:ptCount val="1"/>
                <c:pt idx="0">
                  <c:v>Доля сотрудников выполняюших нагрузку</c:v>
                </c:pt>
              </c:strCache>
            </c:strRef>
          </c:tx>
          <c:spPr>
            <a:solidFill>
              <a:srgbClr val="ff0000"/>
            </a:solidFill>
            <a:ln cap="rnd" w="28440">
              <a:solidFill>
                <a:srgbClr val="ff0000"/>
              </a:solidFill>
              <a:round/>
            </a:ln>
          </c:spPr>
          <c:marker>
            <c:symbol val="none"/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8"/>
                <c:pt idx="0">
                  <c:v>Май</c:v>
                </c:pt>
                <c:pt idx="1">
                  <c:v>Июнь</c:v>
                </c:pt>
                <c:pt idx="2">
                  <c:v>Июль</c:v>
                </c:pt>
                <c:pt idx="3">
                  <c:v>Август</c:v>
                </c:pt>
                <c:pt idx="4">
                  <c:v>Сентябрь</c:v>
                </c:pt>
                <c:pt idx="5">
                  <c:v>Октябрь</c:v>
                </c:pt>
                <c:pt idx="6">
                  <c:v>Ноябрь</c:v>
                </c:pt>
                <c:pt idx="7">
                  <c:v>Декабрь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8"/>
                <c:pt idx="0">
                  <c:v>67</c:v>
                </c:pt>
                <c:pt idx="1">
                  <c:v>62</c:v>
                </c:pt>
                <c:pt idx="2">
                  <c:v>61</c:v>
                </c:pt>
                <c:pt idx="3">
                  <c:v>61</c:v>
                </c:pt>
                <c:pt idx="4">
                  <c:v>79</c:v>
                </c:pt>
                <c:pt idx="5">
                  <c:v>84</c:v>
                </c:pt>
                <c:pt idx="6">
                  <c:v>83</c:v>
                </c:pt>
                <c:pt idx="7">
                  <c:v>86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1"/>
        <c:axId val="14150811"/>
        <c:axId val="20020459"/>
      </c:lineChart>
      <c:catAx>
        <c:axId val="14150811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de3e7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20020459"/>
        <c:crosses val="autoZero"/>
        <c:auto val="1"/>
        <c:lblAlgn val="ctr"/>
        <c:lblOffset val="100"/>
        <c:noMultiLvlLbl val="0"/>
      </c:catAx>
      <c:valAx>
        <c:axId val="20020459"/>
        <c:scaling>
          <c:orientation val="minMax"/>
        </c:scaling>
        <c:delete val="0"/>
        <c:axPos val="l"/>
        <c:majorGridlines>
          <c:spPr>
            <a:ln w="9360">
              <a:solidFill>
                <a:srgbClr val="dde3e7"/>
              </a:solidFill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Доля сотрудников, выполняющих нормативную нагрузку, %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14150811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roundedCorners val="0"/>
  <c:chart>
    <c:autoTitleDeleted val="1"/>
    <c:plotArea>
      <c:lineChart>
        <c:grouping val="standard"/>
        <c:varyColors val="0"/>
        <c:ser>
          <c:idx val="0"/>
          <c:order val="0"/>
          <c:spPr>
            <a:solidFill>
              <a:srgbClr val="20b598"/>
            </a:solidFill>
            <a:ln cap="rnd" w="28440">
              <a:solidFill>
                <a:srgbClr val="20b598"/>
              </a:solidFill>
              <a:round/>
            </a:ln>
          </c:spPr>
          <c:marker>
            <c:symbol val="circle"/>
            <c:size val="5"/>
            <c:spPr>
              <a:solidFill>
                <a:srgbClr val="20b598"/>
              </a:solidFill>
            </c:spPr>
          </c:marker>
          <c:cat>
            <c:strRef>
              <c:f>categories</c:f>
              <c:strCache>
                <c:ptCount val="8"/>
                <c:pt idx="0">
                  <c:v>Май</c:v>
                </c:pt>
                <c:pt idx="1">
                  <c:v>Июнь</c:v>
                </c:pt>
                <c:pt idx="2">
                  <c:v>Июль</c:v>
                </c:pt>
                <c:pt idx="3">
                  <c:v>Август</c:v>
                </c:pt>
                <c:pt idx="4">
                  <c:v>Сентябрь</c:v>
                </c:pt>
                <c:pt idx="5">
                  <c:v>Октябрь</c:v>
                </c:pt>
                <c:pt idx="6">
                  <c:v>Ноябрь</c:v>
                </c:pt>
                <c:pt idx="7">
                  <c:v>Декабрь</c:v>
                </c:pt>
              </c:strCache>
            </c:strRef>
          </c:cat>
          <c:smooth val="0"/>
        </c:ser>
        <c:ser>
          <c:idx val="1"/>
          <c:order val="1"/>
          <c:tx>
            <c:strRef>
              <c:f>label 0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766c"/>
            </a:solidFill>
            <a:ln cap="rnd" w="28440">
              <a:solidFill>
                <a:srgbClr val="00766c"/>
              </a:solidFill>
              <a:round/>
            </a:ln>
          </c:spPr>
          <c:marker>
            <c:symbol val="circle"/>
            <c:size val="5"/>
            <c:spPr>
              <a:solidFill>
                <a:srgbClr val="00766c"/>
              </a:solidFill>
            </c:spPr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8"/>
                <c:pt idx="0">
                  <c:v>Май</c:v>
                </c:pt>
                <c:pt idx="1">
                  <c:v>Июнь</c:v>
                </c:pt>
                <c:pt idx="2">
                  <c:v>Июль</c:v>
                </c:pt>
                <c:pt idx="3">
                  <c:v>Август</c:v>
                </c:pt>
                <c:pt idx="4">
                  <c:v>Сентябрь</c:v>
                </c:pt>
                <c:pt idx="5">
                  <c:v>Октябрь</c:v>
                </c:pt>
                <c:pt idx="6">
                  <c:v>Ноябрь</c:v>
                </c:pt>
                <c:pt idx="7">
                  <c:v>Декабрь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8"/>
                <c:pt idx="0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label 1</c:f>
              <c:strCache>
                <c:ptCount val="1"/>
                <c:pt idx="0">
                  <c:v>Доход от доп. Услуг, млн/месяц</c:v>
                </c:pt>
              </c:strCache>
            </c:strRef>
          </c:tx>
          <c:spPr>
            <a:solidFill>
              <a:srgbClr val="ff0000"/>
            </a:solidFill>
            <a:ln cap="rnd" w="28440">
              <a:solidFill>
                <a:srgbClr val="ff0000"/>
              </a:solidFill>
              <a:round/>
            </a:ln>
          </c:spPr>
          <c:marker>
            <c:symbol val="none"/>
          </c:marker>
          <c:dLbls>
            <c:txPr>
              <a:bodyPr wrap="square"/>
              <a:lstStyle/>
              <a:p>
                <a:pPr>
                  <a:defRPr b="0" sz="1000" spc="-1" strike="noStrike">
                    <a:solidFill>
                      <a:srgbClr val="333f48"/>
                    </a:solidFill>
                    <a:latin typeface="SB Sans Text"/>
                    <a:ea typeface="DejaVu Sans"/>
                  </a:defRPr>
                </a:pPr>
              </a:p>
            </c:txPr>
            <c:dLblPos val="r"/>
            <c:showLegendKey val="0"/>
            <c:showVal val="0"/>
            <c:showCatName val="0"/>
            <c:showSerName val="0"/>
            <c:showPercent val="0"/>
            <c:separator>; </c:separator>
            <c:showLeaderLines val="1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tegories</c:f>
              <c:strCache>
                <c:ptCount val="8"/>
                <c:pt idx="0">
                  <c:v>Май</c:v>
                </c:pt>
                <c:pt idx="1">
                  <c:v>Июнь</c:v>
                </c:pt>
                <c:pt idx="2">
                  <c:v>Июль</c:v>
                </c:pt>
                <c:pt idx="3">
                  <c:v>Август</c:v>
                </c:pt>
                <c:pt idx="4">
                  <c:v>Сентябрь</c:v>
                </c:pt>
                <c:pt idx="5">
                  <c:v>Октябрь</c:v>
                </c:pt>
                <c:pt idx="6">
                  <c:v>Ноябрь</c:v>
                </c:pt>
                <c:pt idx="7">
                  <c:v>Декабрь</c:v>
                </c:pt>
              </c:strCache>
            </c:strRef>
          </c:cat>
          <c:val>
            <c:numRef>
              <c:f>1</c:f>
              <c:numCache>
                <c:formatCode>General</c:formatCode>
                <c:ptCount val="8"/>
                <c:pt idx="0">
                  <c:v>2.65</c:v>
                </c:pt>
                <c:pt idx="1">
                  <c:v>3.23</c:v>
                </c:pt>
                <c:pt idx="2">
                  <c:v>3.23</c:v>
                </c:pt>
                <c:pt idx="3">
                  <c:v>3.2</c:v>
                </c:pt>
                <c:pt idx="4">
                  <c:v>3.3</c:v>
                </c:pt>
                <c:pt idx="5">
                  <c:v>3.47</c:v>
                </c:pt>
                <c:pt idx="6">
                  <c:v>3.56</c:v>
                </c:pt>
                <c:pt idx="7">
                  <c:v>3.62</c:v>
                </c:pt>
              </c:numCache>
            </c:numRef>
          </c:val>
          <c:smooth val="0"/>
        </c:ser>
        <c:hiLowLines>
          <c:spPr>
            <a:ln w="0">
              <a:noFill/>
            </a:ln>
          </c:spPr>
        </c:hiLowLines>
        <c:marker val="1"/>
        <c:axId val="28024306"/>
        <c:axId val="74585709"/>
      </c:lineChart>
      <c:catAx>
        <c:axId val="2802430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9360">
            <a:solidFill>
              <a:srgbClr val="dde3e7"/>
            </a:solidFill>
            <a:round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74585709"/>
        <c:crosses val="autoZero"/>
        <c:auto val="1"/>
        <c:lblAlgn val="ctr"/>
        <c:lblOffset val="100"/>
        <c:noMultiLvlLbl val="0"/>
      </c:catAx>
      <c:valAx>
        <c:axId val="74585709"/>
        <c:scaling>
          <c:orientation val="minMax"/>
          <c:min val="2"/>
        </c:scaling>
        <c:delete val="0"/>
        <c:axPos val="l"/>
        <c:majorGridlines>
          <c:spPr>
            <a:ln w="9360">
              <a:solidFill>
                <a:srgbClr val="dde3e7"/>
              </a:solidFill>
              <a:round/>
            </a:ln>
          </c:spPr>
        </c:majorGridlines>
        <c:title>
          <c:tx>
            <c:rich>
              <a:bodyPr rot="-5400000"/>
              <a:lstStyle/>
              <a:p>
                <a:pPr>
                  <a:def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defRPr>
                </a:pPr>
                <a:r>
                  <a:rPr b="0" lang="ru-RU" sz="1000" spc="-1" strike="noStrike">
                    <a:solidFill>
                      <a:srgbClr val="6c8497"/>
                    </a:solidFill>
                    <a:latin typeface="SB Sans Text"/>
                    <a:ea typeface="DejaVu Sans"/>
                  </a:rPr>
                  <a:t>Доход от доп. Услуг, млн/месяц</a:t>
                </a:r>
              </a:p>
            </c:rich>
          </c:tx>
          <c:overlay val="0"/>
          <c:spPr>
            <a:noFill/>
            <a:ln w="0">
              <a:noFill/>
            </a:ln>
          </c:spPr>
        </c:title>
        <c:numFmt formatCode="General" sourceLinked="0"/>
        <c:majorTickMark val="none"/>
        <c:minorTickMark val="none"/>
        <c:tickLblPos val="nextTo"/>
        <c:spPr>
          <a:ln w="6480">
            <a:noFill/>
          </a:ln>
        </c:spPr>
        <c:txPr>
          <a:bodyPr/>
          <a:lstStyle/>
          <a:p>
            <a:pPr>
              <a:defRPr b="0" sz="900" spc="-1" strike="noStrike">
                <a:solidFill>
                  <a:srgbClr val="6c8497"/>
                </a:solidFill>
                <a:latin typeface="SB Sans Text"/>
                <a:ea typeface="DejaVu Sans"/>
              </a:defRPr>
            </a:pPr>
          </a:p>
        </c:txPr>
        <c:crossAx val="28024306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</c:chart>
  <c:spPr>
    <a:noFill/>
    <a:ln w="9360">
      <a:noFill/>
    </a:ln>
  </c:spPr>
</c:chartSpace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5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ru-RU" sz="2000" spc="-1" strike="noStrike">
                <a:latin typeface="XO Oriel"/>
              </a:rPr>
              <a:t>Для правки формата примечаний щёлкните мышью</a:t>
            </a:r>
            <a:endParaRPr b="0" lang="ru-RU" sz="2000" spc="-1" strike="noStrike">
              <a:latin typeface="XO Oriel"/>
            </a:endParaRPr>
          </a:p>
        </p:txBody>
      </p:sp>
      <p:sp>
        <p:nvSpPr>
          <p:cNvPr id="21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ru-RU" sz="1400" spc="-1" strike="noStrike">
                <a:latin typeface="Times New Roman"/>
              </a:rPr>
              <a:t>&lt;верх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218" name="PlaceHolder 4"/>
          <p:cNvSpPr>
            <a:spLocks noGrp="1"/>
          </p:cNvSpPr>
          <p:nvPr>
            <p:ph type="dt" idx="10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algn="r">
              <a:buNone/>
              <a:defRPr b="0" lang="ru-RU" sz="1400" spc="-1" strike="noStrike">
                <a:latin typeface="Times New Roman"/>
              </a:defRPr>
            </a:lvl1pPr>
          </a:lstStyle>
          <a:p>
            <a:pPr algn="r">
              <a:buNone/>
            </a:pPr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219" name="PlaceHolder 5"/>
          <p:cNvSpPr>
            <a:spLocks noGrp="1"/>
          </p:cNvSpPr>
          <p:nvPr>
            <p:ph type="ftr" idx="11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220" name="PlaceHolder 6"/>
          <p:cNvSpPr>
            <a:spLocks noGrp="1"/>
          </p:cNvSpPr>
          <p:nvPr>
            <p:ph type="sldNum" idx="12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buNone/>
              <a:defRPr b="0" lang="ru-RU" sz="1400" spc="-1" strike="noStrike">
                <a:latin typeface="Times New Roman"/>
              </a:defRPr>
            </a:lvl1pPr>
          </a:lstStyle>
          <a:p>
            <a:pPr algn="r">
              <a:buNone/>
            </a:pPr>
            <a:fld id="{AEA8F4CA-5219-4122-8FD6-1762B9463C52}" type="slidenum">
              <a:rPr b="0" lang="ru-RU" sz="1400" spc="-1" strike="noStrike">
                <a:latin typeface="Times New Roman"/>
              </a:rPr>
              <a:t>&lt;номер&gt;</a:t>
            </a:fld>
            <a:endParaRPr b="0" lang="ru-RU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1.xml.rels><?xml version="1.0" encoding="UTF-8"?>
<Relationships xmlns="http://schemas.openxmlformats.org/package/2006/relationships"><Relationship Id="rId1" Type="http://schemas.openxmlformats.org/officeDocument/2006/relationships/slide" Target="../slides/slide11.xml"/><Relationship Id="rId2" Type="http://schemas.openxmlformats.org/officeDocument/2006/relationships/notesMaster" Target="../notesMasters/notesMaster1.xml"/>
</Relationships>
</file>

<file path=ppt/notesSlides/_rels/notesSlide12.xml.rels><?xml version="1.0" encoding="UTF-8"?>
<Relationships xmlns="http://schemas.openxmlformats.org/package/2006/relationships"><Relationship Id="rId1" Type="http://schemas.openxmlformats.org/officeDocument/2006/relationships/slide" Target="../slides/slide12.xml"/><Relationship Id="rId2" Type="http://schemas.openxmlformats.org/officeDocument/2006/relationships/notesMaster" Target="../notesMasters/notesMaster1.xml"/>
</Relationships>
</file>

<file path=ppt/notesSlides/_rels/notesSlide2.xml.rels><?xml version="1.0" encoding="UTF-8"?>
<Relationships xmlns="http://schemas.openxmlformats.org/package/2006/relationships"><Relationship Id="rId1" Type="http://schemas.openxmlformats.org/officeDocument/2006/relationships/slide" Target="../slides/slide2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notesSlide11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4600" cy="3084120"/>
          </a:xfrm>
          <a:prstGeom prst="rect">
            <a:avLst/>
          </a:prstGeom>
          <a:ln w="0">
            <a:noFill/>
          </a:ln>
        </p:spPr>
      </p:sp>
      <p:sp>
        <p:nvSpPr>
          <p:cNvPr id="34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4960" cy="359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ru-RU" sz="2000" spc="-1" strike="noStrike">
              <a:latin typeface="XO Oriel"/>
            </a:endParaRPr>
          </a:p>
        </p:txBody>
      </p:sp>
      <p:sp>
        <p:nvSpPr>
          <p:cNvPr id="344" name="PlaceHolder 3"/>
          <p:cNvSpPr>
            <a:spLocks noGrp="1"/>
          </p:cNvSpPr>
          <p:nvPr>
            <p:ph type="sldNum" idx="16"/>
          </p:nvPr>
        </p:nvSpPr>
        <p:spPr>
          <a:xfrm>
            <a:off x="3884760" y="8685360"/>
            <a:ext cx="2970360" cy="457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ru-RU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E3B79978-8282-4DFD-862E-B3B1701E9DB4}" type="slidenum">
              <a:rPr b="0" lang="ru-RU" sz="12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</p:spTree>
  </p:cSld>
</p:notes>
</file>

<file path=ppt/notesSlides/notesSlide1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4600" cy="3084120"/>
          </a:xfrm>
          <a:prstGeom prst="rect">
            <a:avLst/>
          </a:prstGeom>
          <a:ln w="0">
            <a:noFill/>
          </a:ln>
        </p:spPr>
      </p:sp>
      <p:sp>
        <p:nvSpPr>
          <p:cNvPr id="34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4960" cy="359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ru-RU" sz="2000" spc="-1" strike="noStrike">
              <a:latin typeface="XO Oriel"/>
            </a:endParaRPr>
          </a:p>
        </p:txBody>
      </p:sp>
      <p:sp>
        <p:nvSpPr>
          <p:cNvPr id="347" name="PlaceHolder 3"/>
          <p:cNvSpPr>
            <a:spLocks noGrp="1"/>
          </p:cNvSpPr>
          <p:nvPr>
            <p:ph type="sldNum" idx="17"/>
          </p:nvPr>
        </p:nvSpPr>
        <p:spPr>
          <a:xfrm>
            <a:off x="3884760" y="8685360"/>
            <a:ext cx="2970360" cy="457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ru-RU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ADD6B4B-48C3-4C51-A63A-3E906F291208}" type="slidenum">
              <a:rPr b="0" lang="ru-RU" sz="12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</p:spTree>
  </p:cSld>
</p:notes>
</file>

<file path=ppt/notesSlides/notesSlide2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PlaceHolder 1"/>
          <p:cNvSpPr>
            <a:spLocks noGrp="1"/>
          </p:cNvSpPr>
          <p:nvPr>
            <p:ph type="sldImg"/>
          </p:nvPr>
        </p:nvSpPr>
        <p:spPr>
          <a:xfrm>
            <a:off x="216000" y="812880"/>
            <a:ext cx="7127640" cy="4008240"/>
          </a:xfrm>
          <a:prstGeom prst="rect">
            <a:avLst/>
          </a:prstGeom>
          <a:ln w="0">
            <a:noFill/>
          </a:ln>
        </p:spPr>
      </p:sp>
      <p:sp>
        <p:nvSpPr>
          <p:cNvPr id="334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280" cy="4810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ru-RU" sz="2000" spc="-1" strike="noStrike">
              <a:latin typeface="XO Oriel"/>
            </a:endParaRPr>
          </a:p>
        </p:txBody>
      </p:sp>
      <p:sp>
        <p:nvSpPr>
          <p:cNvPr id="335" name="PlaceHolder 3"/>
          <p:cNvSpPr>
            <a:spLocks noGrp="1"/>
          </p:cNvSpPr>
          <p:nvPr>
            <p:ph type="sldNum" idx="13"/>
          </p:nvPr>
        </p:nvSpPr>
        <p:spPr>
          <a:xfrm>
            <a:off x="4278960" y="10157400"/>
            <a:ext cx="3280320" cy="5338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2325001A-2DEA-46E0-AB3E-9017766F2363}" type="slidenum">
              <a:rPr b="0" lang="ru-RU" sz="1400" spc="-1" strike="noStrike">
                <a:solidFill>
                  <a:srgbClr val="000000"/>
                </a:solidFill>
                <a:latin typeface="Times New Roman"/>
                <a:ea typeface="+mn-ea"/>
              </a:rPr>
              <a:t>&lt;номер&gt;</a:t>
            </a:fld>
            <a:endParaRPr b="0" lang="ru-RU" sz="1400" spc="-1" strike="noStrike"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4600" cy="3084120"/>
          </a:xfrm>
          <a:prstGeom prst="rect">
            <a:avLst/>
          </a:prstGeom>
          <a:ln w="0">
            <a:noFill/>
          </a:ln>
        </p:spPr>
      </p:sp>
      <p:sp>
        <p:nvSpPr>
          <p:cNvPr id="337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4960" cy="359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ru-RU" sz="2000" spc="-1" strike="noStrike">
              <a:latin typeface="XO Oriel"/>
            </a:endParaRPr>
          </a:p>
        </p:txBody>
      </p:sp>
      <p:sp>
        <p:nvSpPr>
          <p:cNvPr id="338" name="PlaceHolder 3"/>
          <p:cNvSpPr>
            <a:spLocks noGrp="1"/>
          </p:cNvSpPr>
          <p:nvPr>
            <p:ph type="sldNum" idx="14"/>
          </p:nvPr>
        </p:nvSpPr>
        <p:spPr>
          <a:xfrm>
            <a:off x="3884760" y="8685360"/>
            <a:ext cx="2970360" cy="457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ru-RU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1D64695-5584-43DD-8B74-B708E43B073E}" type="slidenum">
              <a:rPr b="0" lang="ru-RU" sz="12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4600" cy="3084120"/>
          </a:xfrm>
          <a:prstGeom prst="rect">
            <a:avLst/>
          </a:prstGeom>
          <a:ln w="0">
            <a:noFill/>
          </a:ln>
        </p:spPr>
      </p:sp>
      <p:sp>
        <p:nvSpPr>
          <p:cNvPr id="34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4960" cy="35989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ru-RU" sz="2000" spc="-1" strike="noStrike">
              <a:latin typeface="XO Oriel"/>
            </a:endParaRPr>
          </a:p>
        </p:txBody>
      </p:sp>
      <p:sp>
        <p:nvSpPr>
          <p:cNvPr id="341" name="PlaceHolder 3"/>
          <p:cNvSpPr>
            <a:spLocks noGrp="1"/>
          </p:cNvSpPr>
          <p:nvPr>
            <p:ph type="sldNum" idx="15"/>
          </p:nvPr>
        </p:nvSpPr>
        <p:spPr>
          <a:xfrm>
            <a:off x="3884760" y="8685360"/>
            <a:ext cx="2970360" cy="4572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ru-RU" sz="1200" spc="-1" strike="noStrike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CF8CB61E-0599-4BB5-8FB9-448D104546D9}" type="slidenum">
              <a:rPr b="0" lang="ru-RU" sz="1200" spc="-1" strike="noStrike">
                <a:solidFill>
                  <a:srgbClr val="000000"/>
                </a:solidFill>
                <a:latin typeface="+mn-lt"/>
                <a:ea typeface="+mn-ea"/>
              </a:rPr>
              <a:t>&lt;номер&gt;</a:t>
            </a:fld>
            <a:endParaRPr b="0" lang="ru-RU" sz="1200" spc="-1" strike="noStrike"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3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PlaceHolder 5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432000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803052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6"/>
          <p:cNvSpPr>
            <a:spLocks noGrp="1"/>
          </p:cNvSpPr>
          <p:nvPr>
            <p:ph/>
          </p:nvPr>
        </p:nvSpPr>
        <p:spPr>
          <a:xfrm>
            <a:off x="432000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7"/>
          <p:cNvSpPr>
            <a:spLocks noGrp="1"/>
          </p:cNvSpPr>
          <p:nvPr>
            <p:ph/>
          </p:nvPr>
        </p:nvSpPr>
        <p:spPr>
          <a:xfrm>
            <a:off x="803052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2A8119F5-8280-4F2E-8896-0ED569F3D934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A276E2DE-6276-4CB1-9F4D-AD466ED028FD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86B1A83E-B396-41F5-A3AD-4E1248A7C6CA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A3F10B24-BECD-40EF-AD29-A04B490FF87A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6B7E5D80-AE22-4459-9C8B-D3E9D8AE20E6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352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FB39A221-2D91-4A48-A4DC-F6715B24DFE5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95DC2AE2-CA54-4958-938B-4FD9D8930D7D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0D70AFBC-4B29-4E4B-9F00-380170E559E9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C434B7C0-5AEF-4330-AA3E-3D02053CA935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9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E66C231A-3557-4B69-81DD-AAE6450C86A5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5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5C58BB21-A089-4F29-A4DC-1CA24344448C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7" name="PlaceHolder 3"/>
          <p:cNvSpPr>
            <a:spLocks noGrp="1"/>
          </p:cNvSpPr>
          <p:nvPr>
            <p:ph/>
          </p:nvPr>
        </p:nvSpPr>
        <p:spPr>
          <a:xfrm>
            <a:off x="432000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PlaceHolder 4"/>
          <p:cNvSpPr>
            <a:spLocks noGrp="1"/>
          </p:cNvSpPr>
          <p:nvPr>
            <p:ph/>
          </p:nvPr>
        </p:nvSpPr>
        <p:spPr>
          <a:xfrm>
            <a:off x="803052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PlaceHolder 6"/>
          <p:cNvSpPr>
            <a:spLocks noGrp="1"/>
          </p:cNvSpPr>
          <p:nvPr>
            <p:ph/>
          </p:nvPr>
        </p:nvSpPr>
        <p:spPr>
          <a:xfrm>
            <a:off x="432000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1" name="PlaceHolder 7"/>
          <p:cNvSpPr>
            <a:spLocks noGrp="1"/>
          </p:cNvSpPr>
          <p:nvPr>
            <p:ph/>
          </p:nvPr>
        </p:nvSpPr>
        <p:spPr>
          <a:xfrm>
            <a:off x="803052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2"/>
          </p:nvPr>
        </p:nvSpPr>
        <p:spPr/>
        <p:txBody>
          <a:bodyPr/>
          <a:p>
            <a:fld id="{D2479186-A450-4440-AB7A-609E26D3C10F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3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EA17D175-790B-4B83-9596-632588000032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5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EF2E8369-AB40-4BB0-B8AA-C9668E5E3C54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93BBB9E5-BF71-4FF3-9922-039156EE71B8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0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BAC884D3-D25D-4410-AC5B-5D6F68E6B2D3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2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F3A5CF91-A0AB-470C-B3A0-3B2CDA6664AD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3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352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FD677706-6C15-4CE6-904E-4C0687B02B03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791177C0-8B00-49F4-AD63-25A424BDC988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0" name="PlaceHolder 4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3E74B72F-ADB0-47D3-A809-7D35F892E0EC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E8A8B9D2-11FC-4FB6-8146-1DB8BD532346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7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2DE69042-ACDE-4357-9B4C-E4FB0DA8A8E6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PlaceHolder 5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8E4C46C7-561A-453E-9BC5-D57145D48F19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PlaceHolder 3"/>
          <p:cNvSpPr>
            <a:spLocks noGrp="1"/>
          </p:cNvSpPr>
          <p:nvPr>
            <p:ph/>
          </p:nvPr>
        </p:nvSpPr>
        <p:spPr>
          <a:xfrm>
            <a:off x="432000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PlaceHolder 4"/>
          <p:cNvSpPr>
            <a:spLocks noGrp="1"/>
          </p:cNvSpPr>
          <p:nvPr>
            <p:ph/>
          </p:nvPr>
        </p:nvSpPr>
        <p:spPr>
          <a:xfrm>
            <a:off x="803052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6"/>
          <p:cNvSpPr>
            <a:spLocks noGrp="1"/>
          </p:cNvSpPr>
          <p:nvPr>
            <p:ph/>
          </p:nvPr>
        </p:nvSpPr>
        <p:spPr>
          <a:xfrm>
            <a:off x="432000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9" name="PlaceHolder 7"/>
          <p:cNvSpPr>
            <a:spLocks noGrp="1"/>
          </p:cNvSpPr>
          <p:nvPr>
            <p:ph/>
          </p:nvPr>
        </p:nvSpPr>
        <p:spPr>
          <a:xfrm>
            <a:off x="803052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5"/>
          </p:nvPr>
        </p:nvSpPr>
        <p:spPr/>
        <p:txBody>
          <a:bodyPr/>
          <a:p>
            <a:fld id="{B4896E59-0839-432A-AF5B-F58983EA8DC8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6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3" name="PlaceHolder 2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DB45F5C4-4BC7-4170-A256-5E983F87F7BC}" type="slidenum">
              <a:t>&lt;#&gt;</a:t>
            </a:fld>
          </a:p>
        </p:txBody>
      </p:sp>
      <p:sp>
        <p:nvSpPr>
          <p:cNvPr id="4" name="PlaceHolder 3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6BB7C388-D41E-4E39-AB28-63CABBCA2F7E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3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5" name="PlaceHolder 4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8D2EB1AB-0B94-45CE-885D-6703C6D3A2A9}" type="slidenum">
              <a:t>&lt;#&gt;</a:t>
            </a:fld>
          </a:p>
        </p:txBody>
      </p:sp>
      <p:sp>
        <p:nvSpPr>
          <p:cNvPr id="6" name="PlaceHolder 5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4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5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F24F6214-1CE1-4EDC-804A-D424746DA5AA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B7009C82-AFA2-49F0-8F19-99029936EC0B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352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4" name="PlaceHolder 3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4A32334C-14E4-4F0F-B399-91DC3EB54927}" type="slidenum">
              <a:t>&lt;#&gt;</a:t>
            </a:fld>
          </a:p>
        </p:txBody>
      </p:sp>
      <p:sp>
        <p:nvSpPr>
          <p:cNvPr id="5" name="PlaceHolder 4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0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E333E329-18D9-4B0A-B501-FBB620FA3130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4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5" name="PlaceHolder 4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7D2F164C-2F5C-4E14-AA5E-A101416F636B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7" name="PlaceHolder 6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3BD3A6D0-406B-496F-83E6-F39FC0413BB9}" type="slidenum">
              <a:t>&lt;#&gt;</a:t>
            </a:fld>
          </a:p>
        </p:txBody>
      </p:sp>
      <p:sp>
        <p:nvSpPr>
          <p:cNvPr id="8" name="PlaceHolder 7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6" name="PlaceHolder 5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CDA32150-2617-4618-BB26-013E1CE20E72}" type="slidenum">
              <a:t>&lt;#&gt;</a:t>
            </a:fld>
          </a:p>
        </p:txBody>
      </p:sp>
      <p:sp>
        <p:nvSpPr>
          <p:cNvPr id="7" name="PlaceHolder 6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5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8" name="PlaceHolder 7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7E7786D5-CFA5-4CBC-A7B6-58A29E6FD12C}" type="slidenum">
              <a:t>&lt;#&gt;</a:t>
            </a:fld>
          </a:p>
        </p:txBody>
      </p:sp>
      <p:sp>
        <p:nvSpPr>
          <p:cNvPr id="9" name="PlaceHolder 8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4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0" name="PlaceHolder 3"/>
          <p:cNvSpPr>
            <a:spLocks noGrp="1"/>
          </p:cNvSpPr>
          <p:nvPr>
            <p:ph/>
          </p:nvPr>
        </p:nvSpPr>
        <p:spPr>
          <a:xfrm>
            <a:off x="432000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PlaceHolder 4"/>
          <p:cNvSpPr>
            <a:spLocks noGrp="1"/>
          </p:cNvSpPr>
          <p:nvPr>
            <p:ph/>
          </p:nvPr>
        </p:nvSpPr>
        <p:spPr>
          <a:xfrm>
            <a:off x="8030520" y="160452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6"/>
          <p:cNvSpPr>
            <a:spLocks noGrp="1"/>
          </p:cNvSpPr>
          <p:nvPr>
            <p:ph/>
          </p:nvPr>
        </p:nvSpPr>
        <p:spPr>
          <a:xfrm>
            <a:off x="432000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4" name="PlaceHolder 7"/>
          <p:cNvSpPr>
            <a:spLocks noGrp="1"/>
          </p:cNvSpPr>
          <p:nvPr>
            <p:ph/>
          </p:nvPr>
        </p:nvSpPr>
        <p:spPr>
          <a:xfrm>
            <a:off x="8030520" y="3682080"/>
            <a:ext cx="35334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7"/>
          </p:nvPr>
        </p:nvSpPr>
        <p:spPr/>
        <p:txBody>
          <a:bodyPr/>
          <a:p>
            <a:r>
              <a:t>Footer</a:t>
            </a:r>
          </a:p>
        </p:txBody>
      </p:sp>
      <p:sp>
        <p:nvSpPr>
          <p:cNvPr id="10" name="PlaceHolder 9"/>
          <p:cNvSpPr>
            <a:spLocks noGrp="1"/>
          </p:cNvSpPr>
          <p:nvPr>
            <p:ph type="sldNum" idx="8"/>
          </p:nvPr>
        </p:nvSpPr>
        <p:spPr/>
        <p:txBody>
          <a:bodyPr/>
          <a:p>
            <a:fld id="{D5FC25A1-0CCB-438F-A261-4C890CBBA3ED}" type="slidenum">
              <a:t>&lt;#&gt;</a:t>
            </a:fld>
          </a:p>
        </p:txBody>
      </p:sp>
      <p:sp>
        <p:nvSpPr>
          <p:cNvPr id="11" name="PlaceHolder 10"/>
          <p:cNvSpPr>
            <a:spLocks noGrp="1"/>
          </p:cNvSpPr>
          <p:nvPr>
            <p:ph type="dt" idx="9"/>
          </p:nvPr>
        </p:nvSpPr>
        <p:spPr/>
        <p:txBody>
          <a:bodyPr/>
          <a:p>
            <a:r>
              <a:rPr lang="ru-RU"/>
              <a:t/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352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ru-RU" sz="3200" spc="-1" strike="noStrike">
              <a:latin typeface="XO Oriel"/>
            </a:endParaRP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PlaceHolder 4"/>
          <p:cNvSpPr>
            <a:spLocks noGrp="1"/>
          </p:cNvSpPr>
          <p:nvPr>
            <p:ph/>
          </p:nvPr>
        </p:nvSpPr>
        <p:spPr>
          <a:xfrm>
            <a:off x="6232680" y="368208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PlaceHolder 3"/>
          <p:cNvSpPr>
            <a:spLocks noGrp="1"/>
          </p:cNvSpPr>
          <p:nvPr>
            <p:ph/>
          </p:nvPr>
        </p:nvSpPr>
        <p:spPr>
          <a:xfrm>
            <a:off x="6232680" y="1604520"/>
            <a:ext cx="535500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352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slideLayout" Target="../slideLayouts/slideLayout1.xml"/><Relationship Id="rId3" Type="http://schemas.openxmlformats.org/officeDocument/2006/relationships/slideLayout" Target="../slideLayouts/slideLayout2.xml"/><Relationship Id="rId4" Type="http://schemas.openxmlformats.org/officeDocument/2006/relationships/slideLayout" Target="../slideLayouts/slideLayout3.xml"/><Relationship Id="rId5" Type="http://schemas.openxmlformats.org/officeDocument/2006/relationships/slideLayout" Target="../slideLayouts/slideLayout4.xml"/><Relationship Id="rId6" Type="http://schemas.openxmlformats.org/officeDocument/2006/relationships/slideLayout" Target="../slideLayouts/slideLayout5.xml"/><Relationship Id="rId7" Type="http://schemas.openxmlformats.org/officeDocument/2006/relationships/slideLayout" Target="../slideLayouts/slideLayout6.xml"/><Relationship Id="rId8" Type="http://schemas.openxmlformats.org/officeDocument/2006/relationships/slideLayout" Target="../slideLayouts/slideLayout7.xml"/><Relationship Id="rId9" Type="http://schemas.openxmlformats.org/officeDocument/2006/relationships/slideLayout" Target="../slideLayouts/slideLayout8.xml"/><Relationship Id="rId10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1.wmf"/><Relationship Id="rId3" Type="http://schemas.openxmlformats.org/officeDocument/2006/relationships/image" Target="../media/image2.wmf"/><Relationship Id="rId4" Type="http://schemas.openxmlformats.org/officeDocument/2006/relationships/image" Target="../media/image3.wmf"/><Relationship Id="rId5" Type="http://schemas.openxmlformats.org/officeDocument/2006/relationships/image" Target="../media/image4.wmf"/><Relationship Id="rId6" Type="http://schemas.openxmlformats.org/officeDocument/2006/relationships/oleObject" Target="../embeddings/oleObject1.bin"/><Relationship Id="rId7" Type="http://schemas.openxmlformats.org/officeDocument/2006/relationships/image" Target="../media/image5.wmf"/><Relationship Id="rId8" Type="http://schemas.openxmlformats.org/officeDocument/2006/relationships/oleObject" Target="../embeddings/oleObject2.bin"/><Relationship Id="rId9" Type="http://schemas.openxmlformats.org/officeDocument/2006/relationships/image" Target="../media/image6.wmf"/><Relationship Id="rId10" Type="http://schemas.openxmlformats.org/officeDocument/2006/relationships/image" Target="../media/image7.png"/><Relationship Id="rId11" Type="http://schemas.openxmlformats.org/officeDocument/2006/relationships/image" Target="../media/image8.png"/><Relationship Id="rId12" Type="http://schemas.openxmlformats.org/officeDocument/2006/relationships/image" Target="../media/image9.png"/><Relationship Id="rId13" Type="http://schemas.openxmlformats.org/officeDocument/2006/relationships/image" Target="../media/image10.png"/><Relationship Id="rId14" Type="http://schemas.openxmlformats.org/officeDocument/2006/relationships/image" Target="../media/image11.png"/><Relationship Id="rId15" Type="http://schemas.openxmlformats.org/officeDocument/2006/relationships/image" Target="../media/image12.png"/><Relationship Id="rId16" Type="http://schemas.openxmlformats.org/officeDocument/2006/relationships/image" Target="../media/image13.png"/><Relationship Id="rId17" Type="http://schemas.openxmlformats.org/officeDocument/2006/relationships/image" Target="../media/image14.png"/><Relationship Id="rId18" Type="http://schemas.openxmlformats.org/officeDocument/2006/relationships/image" Target="../media/image15.png"/><Relationship Id="rId19" Type="http://schemas.openxmlformats.org/officeDocument/2006/relationships/image" Target="../media/image16.wmf"/><Relationship Id="rId20" Type="http://schemas.openxmlformats.org/officeDocument/2006/relationships/image" Target="../media/image17.wmf"/><Relationship Id="rId21" Type="http://schemas.openxmlformats.org/officeDocument/2006/relationships/image" Target="../media/image18.wmf"/><Relationship Id="rId22" Type="http://schemas.openxmlformats.org/officeDocument/2006/relationships/image" Target="../media/image19.wmf"/><Relationship Id="rId23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14.xml"/><Relationship Id="rId25" Type="http://schemas.openxmlformats.org/officeDocument/2006/relationships/slideLayout" Target="../slideLayouts/slideLayout15.xml"/><Relationship Id="rId26" Type="http://schemas.openxmlformats.org/officeDocument/2006/relationships/slideLayout" Target="../slideLayouts/slideLayout16.xml"/><Relationship Id="rId27" Type="http://schemas.openxmlformats.org/officeDocument/2006/relationships/slideLayout" Target="../slideLayouts/slideLayout17.xml"/><Relationship Id="rId28" Type="http://schemas.openxmlformats.org/officeDocument/2006/relationships/slideLayout" Target="../slideLayouts/slideLayout18.xml"/><Relationship Id="rId29" Type="http://schemas.openxmlformats.org/officeDocument/2006/relationships/slideLayout" Target="../slideLayouts/slideLayout19.xml"/><Relationship Id="rId30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21.xml"/><Relationship Id="rId32" Type="http://schemas.openxmlformats.org/officeDocument/2006/relationships/slideLayout" Target="../slideLayouts/slideLayout22.xml"/><Relationship Id="rId33" Type="http://schemas.openxmlformats.org/officeDocument/2006/relationships/slideLayout" Target="../slideLayouts/slideLayout23.xml"/><Relationship Id="rId34" Type="http://schemas.openxmlformats.org/officeDocument/2006/relationships/slideLayout" Target="../slideLayouts/slideLayout24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20.wmf"/><Relationship Id="rId3" Type="http://schemas.openxmlformats.org/officeDocument/2006/relationships/image" Target="../media/image21.wmf"/><Relationship Id="rId4" Type="http://schemas.openxmlformats.org/officeDocument/2006/relationships/image" Target="../media/image22.wmf"/><Relationship Id="rId5" Type="http://schemas.openxmlformats.org/officeDocument/2006/relationships/image" Target="../media/image23.wmf"/><Relationship Id="rId6" Type="http://schemas.openxmlformats.org/officeDocument/2006/relationships/oleObject" Target="../embeddings/oleObject1.bin"/><Relationship Id="rId7" Type="http://schemas.openxmlformats.org/officeDocument/2006/relationships/image" Target="../media/image24.wmf"/><Relationship Id="rId8" Type="http://schemas.openxmlformats.org/officeDocument/2006/relationships/oleObject" Target="../embeddings/oleObject2.bin"/><Relationship Id="rId9" Type="http://schemas.openxmlformats.org/officeDocument/2006/relationships/image" Target="../media/image25.wmf"/><Relationship Id="rId10" Type="http://schemas.openxmlformats.org/officeDocument/2006/relationships/image" Target="../media/image26.png"/><Relationship Id="rId11" Type="http://schemas.openxmlformats.org/officeDocument/2006/relationships/image" Target="../media/image27.png"/><Relationship Id="rId12" Type="http://schemas.openxmlformats.org/officeDocument/2006/relationships/image" Target="../media/image28.png"/><Relationship Id="rId13" Type="http://schemas.openxmlformats.org/officeDocument/2006/relationships/image" Target="../media/image29.wmf"/><Relationship Id="rId14" Type="http://schemas.openxmlformats.org/officeDocument/2006/relationships/image" Target="../media/image30.wmf"/><Relationship Id="rId15" Type="http://schemas.openxmlformats.org/officeDocument/2006/relationships/image" Target="../media/image31.wmf"/><Relationship Id="rId16" Type="http://schemas.openxmlformats.org/officeDocument/2006/relationships/image" Target="../media/image32.wmf"/><Relationship Id="rId17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36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image" Target="../media/image33.wmf"/><Relationship Id="rId3" Type="http://schemas.openxmlformats.org/officeDocument/2006/relationships/image" Target="../media/image34.wmf"/><Relationship Id="rId4" Type="http://schemas.openxmlformats.org/officeDocument/2006/relationships/image" Target="../media/image35.wmf"/><Relationship Id="rId5" Type="http://schemas.openxmlformats.org/officeDocument/2006/relationships/image" Target="../media/image36.wmf"/><Relationship Id="rId6" Type="http://schemas.openxmlformats.org/officeDocument/2006/relationships/oleObject" Target="../embeddings/oleObject1.bin"/><Relationship Id="rId7" Type="http://schemas.openxmlformats.org/officeDocument/2006/relationships/image" Target="../media/image37.wmf"/><Relationship Id="rId8" Type="http://schemas.openxmlformats.org/officeDocument/2006/relationships/oleObject" Target="../embeddings/oleObject2.bin"/><Relationship Id="rId9" Type="http://schemas.openxmlformats.org/officeDocument/2006/relationships/image" Target="../media/image38.wmf"/><Relationship Id="rId10" Type="http://schemas.openxmlformats.org/officeDocument/2006/relationships/image" Target="../media/image39.wmf"/><Relationship Id="rId11" Type="http://schemas.openxmlformats.org/officeDocument/2006/relationships/image" Target="../media/image40.wmf"/><Relationship Id="rId12" Type="http://schemas.openxmlformats.org/officeDocument/2006/relationships/image" Target="../media/image41.wmf"/><Relationship Id="rId13" Type="http://schemas.openxmlformats.org/officeDocument/2006/relationships/image" Target="../media/image42.wmf"/><Relationship Id="rId14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48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9fb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9" name="" descr="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0" name="Рисунок 197" descr="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" name="Рисунок 198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2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43" name="Objec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4" name="Нижний колонтитул 8" hidden="1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graphicFrame>
        <p:nvGraphicFramePr>
          <p:cNvPr id="45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8" spid="">
              <p:embed/>
              <p:pic>
                <p:nvPicPr>
                  <p:cNvPr id="46" name="Object 2" descr=""/>
                  <p:cNvPicPr/>
                  <p:nvPr/>
                </p:nvPicPr>
                <p:blipFill>
                  <a:blip r:embed="rId9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7" name="Нижний колонтитул 8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pic>
        <p:nvPicPr>
          <p:cNvPr id="48" name="Рисунок 450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0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9" name="Рисунок 451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1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0" name="Рисунок 452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2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1" name="Рисунок 453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3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2" name="Рисунок 454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4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3" name="Рисунок 455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5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4" name="Рисунок 456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6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5" name="Рисунок 457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7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6" name="Рисунок 458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8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7" name="Рисунок 214" descr=""/>
          <p:cNvPicPr/>
          <p:nvPr/>
        </p:nvPicPr>
        <p:blipFill>
          <a:blip r:embed="rId19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8" name="Рисунок 215" descr=""/>
          <p:cNvPicPr/>
          <p:nvPr/>
        </p:nvPicPr>
        <p:blipFill>
          <a:blip r:embed="rId20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9" name="PlaceHolder 1"/>
          <p:cNvSpPr>
            <a:spLocks noGrp="1"/>
          </p:cNvSpPr>
          <p:nvPr>
            <p:ph type="ftr" idx="1"/>
          </p:nvPr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defRPr>
            </a:lvl1pPr>
          </a:lstStyle>
          <a:p>
            <a:pPr algn="ctr"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sldNum" idx="2"/>
          </p:nvPr>
        </p:nvSpPr>
        <p:spPr>
          <a:xfrm>
            <a:off x="10057680" y="6464160"/>
            <a:ext cx="1798920" cy="2779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r">
              <a:lnSpc>
                <a:spcPct val="100000"/>
              </a:lnSpc>
              <a:buNone/>
              <a:tabLst>
                <a:tab algn="l" pos="177840"/>
              </a:tabLst>
              <a:def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algn="l" pos="177840"/>
              </a:tabLst>
            </a:pPr>
            <a:fld id="{439EC111-5617-45C2-BDBB-23A0E6804F71}" type="slidenum">
              <a: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rPr>
              <a:t>&lt;номер&gt;</a:t>
            </a:fld>
            <a:endParaRPr b="0" lang="ru-RU" sz="900" spc="-1" strike="noStrike">
              <a:latin typeface="Times New Roman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dt" idx="3"/>
          </p:nvPr>
        </p:nvSpPr>
        <p:spPr>
          <a:xfrm>
            <a:off x="1096920" y="6459480"/>
            <a:ext cx="2472120" cy="363600"/>
          </a:xfrm>
          <a:prstGeom prst="rect">
            <a:avLst/>
          </a:prstGeom>
          <a:noFill/>
          <a:ln w="0">
            <a:noFill/>
          </a:ln>
        </p:spPr>
        <p:txBody>
          <a:bodyPr lIns="68760" rIns="68760" tIns="34200" bIns="34200" anchor="t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pic>
        <p:nvPicPr>
          <p:cNvPr id="62" name="" descr=""/>
          <p:cNvPicPr/>
          <p:nvPr/>
        </p:nvPicPr>
        <p:blipFill>
          <a:blip r:embed="rId21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3" name="" descr=""/>
          <p:cNvPicPr/>
          <p:nvPr/>
        </p:nvPicPr>
        <p:blipFill>
          <a:blip r:embed="rId2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64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  <p:sldLayoutId id="2147483669" r:id="rId30"/>
    <p:sldLayoutId id="2147483670" r:id="rId31"/>
    <p:sldLayoutId id="2147483671" r:id="rId32"/>
    <p:sldLayoutId id="2147483672" r:id="rId33"/>
    <p:sldLayoutId id="2147483673" r:id="rId34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9fb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03" name="" descr="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04" name="Рисунок 2" descr="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05" name="Рисунок 5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06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07" name="Objec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08" name="Нижний колонтитул 8" hidden="1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graphicFrame>
        <p:nvGraphicFramePr>
          <p:cNvPr id="109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8" spid="">
              <p:embed/>
              <p:pic>
                <p:nvPicPr>
                  <p:cNvPr id="110" name="Object 2" descr=""/>
                  <p:cNvPicPr/>
                  <p:nvPr/>
                </p:nvPicPr>
                <p:blipFill>
                  <a:blip r:embed="rId9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11" name="Нижний колонтитул 8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pic>
        <p:nvPicPr>
          <p:cNvPr id="112" name="Рисунок 188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0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3" name="Рисунок 189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1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4" name="Рисунок 190" descr="http://F179916B8945E612625BF4B07AEADFB1.dms.sberbank.ru/F179916B8945E612625BF4B07AEADFB1-BE80BBC9D9F05BD44E5B6412C0D6D94E-AD68EF41A8DFDA2B8081533539D9EACF/1.png"/>
          <p:cNvPicPr/>
          <p:nvPr/>
        </p:nvPicPr>
        <p:blipFill>
          <a:blip r:embed="rId12"/>
          <a:stretch/>
        </p:blipFill>
        <p:spPr>
          <a:xfrm>
            <a:off x="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5" name="Рисунок 10" descr=""/>
          <p:cNvPicPr/>
          <p:nvPr/>
        </p:nvPicPr>
        <p:blipFill>
          <a:blip r:embed="rId1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6" name="Рисунок 11" descr=""/>
          <p:cNvPicPr/>
          <p:nvPr/>
        </p:nvPicPr>
        <p:blipFill>
          <a:blip r:embed="rId1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17" name="PlaceHolder 1"/>
          <p:cNvSpPr>
            <a:spLocks noGrp="1"/>
          </p:cNvSpPr>
          <p:nvPr>
            <p:ph type="title"/>
          </p:nvPr>
        </p:nvSpPr>
        <p:spPr>
          <a:xfrm>
            <a:off x="914400" y="2130480"/>
            <a:ext cx="10362960" cy="1468440"/>
          </a:xfrm>
          <a:prstGeom prst="rect">
            <a:avLst/>
          </a:prstGeom>
          <a:noFill/>
          <a:ln w="0">
            <a:noFill/>
          </a:ln>
        </p:spPr>
        <p:txBody>
          <a:bodyPr numCol="1" spcCol="0" lIns="0" rIns="0" tIns="0" bIns="0" anchor="ctr">
            <a:noAutofit/>
          </a:bodyPr>
          <a:p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8" name="PlaceHolder 2"/>
          <p:cNvSpPr>
            <a:spLocks noGrp="1"/>
          </p:cNvSpPr>
          <p:nvPr>
            <p:ph type="ftr" idx="4"/>
          </p:nvPr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defRPr>
            </a:lvl1pPr>
          </a:lstStyle>
          <a:p>
            <a:pPr algn="ctr"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119" name="PlaceHolder 3"/>
          <p:cNvSpPr>
            <a:spLocks noGrp="1"/>
          </p:cNvSpPr>
          <p:nvPr>
            <p:ph type="sldNum" idx="5"/>
          </p:nvPr>
        </p:nvSpPr>
        <p:spPr>
          <a:xfrm>
            <a:off x="10057680" y="6464160"/>
            <a:ext cx="1798920" cy="2779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r">
              <a:lnSpc>
                <a:spcPct val="100000"/>
              </a:lnSpc>
              <a:buNone/>
              <a:tabLst>
                <a:tab algn="l" pos="177840"/>
              </a:tabLst>
              <a:def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algn="l" pos="177840"/>
              </a:tabLst>
            </a:pPr>
            <a:fld id="{A7C9A30E-5482-4EEC-908E-85C2BA64CE9C}" type="slidenum">
              <a: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rPr>
              <a:t>&lt;номер&gt;</a:t>
            </a:fld>
            <a:endParaRPr b="0" lang="ru-RU" sz="900" spc="-1" strike="noStrike">
              <a:latin typeface="Times New Roman"/>
            </a:endParaRPr>
          </a:p>
        </p:txBody>
      </p:sp>
      <p:sp>
        <p:nvSpPr>
          <p:cNvPr id="120" name="PlaceHolder 4"/>
          <p:cNvSpPr>
            <a:spLocks noGrp="1"/>
          </p:cNvSpPr>
          <p:nvPr>
            <p:ph type="dt" idx="6"/>
          </p:nvPr>
        </p:nvSpPr>
        <p:spPr>
          <a:xfrm>
            <a:off x="609480" y="6356520"/>
            <a:ext cx="2843640" cy="36540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pic>
        <p:nvPicPr>
          <p:cNvPr id="121" name="" descr="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22" name="" descr=""/>
          <p:cNvPicPr/>
          <p:nvPr/>
        </p:nvPicPr>
        <p:blipFill>
          <a:blip r:embed="rId16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23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17"/>
    <p:sldLayoutId id="2147483676" r:id="rId18"/>
    <p:sldLayoutId id="2147483677" r:id="rId19"/>
    <p:sldLayoutId id="2147483678" r:id="rId20"/>
    <p:sldLayoutId id="2147483679" r:id="rId21"/>
    <p:sldLayoutId id="2147483680" r:id="rId22"/>
    <p:sldLayoutId id="2147483681" r:id="rId23"/>
    <p:sldLayoutId id="2147483682" r:id="rId24"/>
    <p:sldLayoutId id="2147483683" r:id="rId25"/>
    <p:sldLayoutId id="2147483684" r:id="rId26"/>
    <p:sldLayoutId id="2147483685" r:id="rId27"/>
    <p:sldLayoutId id="2147483686" r:id="rId28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9fb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0" name="" descr=""/>
          <p:cNvPicPr/>
          <p:nvPr/>
        </p:nvPicPr>
        <p:blipFill>
          <a:blip r:embed="rId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61" name="" descr="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62" name="Рисунок 257" descr="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63" name="Рисунок 258" descr="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64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6" spid="">
              <p:embed/>
              <p:pic>
                <p:nvPicPr>
                  <p:cNvPr id="165" name="Object 2" descr=""/>
                  <p:cNvPicPr/>
                  <p:nvPr/>
                </p:nvPicPr>
                <p:blipFill>
                  <a:blip r:embed="rId7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66" name="Нижний колонтитул 8" hidden="1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graphicFrame>
        <p:nvGraphicFramePr>
          <p:cNvPr id="167" name="Object 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8" spid="">
              <p:embed/>
              <p:pic>
                <p:nvPicPr>
                  <p:cNvPr id="168" name="Object 2" descr=""/>
                  <p:cNvPicPr/>
                  <p:nvPr/>
                </p:nvPicPr>
                <p:blipFill>
                  <a:blip r:embed="rId9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69" name="Нижний колонтитул 8"/>
          <p:cNvSpPr/>
          <p:nvPr/>
        </p:nvSpPr>
        <p:spPr>
          <a:xfrm>
            <a:off x="5196240" y="6345360"/>
            <a:ext cx="4212000" cy="363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pic>
        <p:nvPicPr>
          <p:cNvPr id="170" name="Рисунок 265" descr=""/>
          <p:cNvPicPr/>
          <p:nvPr/>
        </p:nvPicPr>
        <p:blipFill>
          <a:blip r:embed="rId10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1" name="Рисунок 266" descr=""/>
          <p:cNvPicPr/>
          <p:nvPr/>
        </p:nvPicPr>
        <p:blipFill>
          <a:blip r:embed="rId11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72" name="PlaceHolder 1"/>
          <p:cNvSpPr>
            <a:spLocks noGrp="1"/>
          </p:cNvSpPr>
          <p:nvPr>
            <p:ph type="ftr" idx="7"/>
          </p:nvPr>
        </p:nvSpPr>
        <p:spPr>
          <a:xfrm>
            <a:off x="0" y="0"/>
            <a:ext cx="360" cy="3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ctr">
              <a:lnSpc>
                <a:spcPct val="100000"/>
              </a:lnSpc>
              <a:buNone/>
              <a:def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defRPr>
            </a:lvl1pPr>
          </a:lstStyle>
          <a:p>
            <a:pPr algn="ctr"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000000"/>
                </a:solidFill>
                <a:latin typeface="Times New Roman"/>
                <a:ea typeface="DejaVu Sans"/>
              </a:rPr>
              <a:t>&lt;нижний колонтитул&gt;</a:t>
            </a:r>
            <a:endParaRPr b="0" lang="ru-RU" sz="1400" spc="-1" strike="noStrike">
              <a:latin typeface="Times New Roman"/>
            </a:endParaRPr>
          </a:p>
        </p:txBody>
      </p:sp>
      <p:sp>
        <p:nvSpPr>
          <p:cNvPr id="173" name="PlaceHolder 2"/>
          <p:cNvSpPr>
            <a:spLocks noGrp="1"/>
          </p:cNvSpPr>
          <p:nvPr>
            <p:ph type="sldNum" idx="8"/>
          </p:nvPr>
        </p:nvSpPr>
        <p:spPr>
          <a:xfrm>
            <a:off x="10057680" y="6464160"/>
            <a:ext cx="1798920" cy="27792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 algn="r">
              <a:lnSpc>
                <a:spcPct val="100000"/>
              </a:lnSpc>
              <a:buNone/>
              <a:tabLst>
                <a:tab algn="l" pos="177840"/>
              </a:tabLst>
              <a:def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  <a:tabLst>
                <a:tab algn="l" pos="177840"/>
              </a:tabLst>
            </a:pPr>
            <a:fld id="{B91833E3-272E-4A4B-BE9E-C9C04737EF57}" type="slidenum">
              <a:rPr b="0" lang="ru-RU" sz="900" spc="-1" strike="noStrike">
                <a:solidFill>
                  <a:srgbClr val="52626f"/>
                </a:solidFill>
                <a:latin typeface="SB Sans Text"/>
                <a:ea typeface="DejaVu Sans"/>
              </a:rPr>
              <a:t>&lt;номер&gt;</a:t>
            </a:fld>
            <a:endParaRPr b="0" lang="ru-RU" sz="900" spc="-1" strike="noStrike">
              <a:latin typeface="Times New Roman"/>
            </a:endParaRPr>
          </a:p>
        </p:txBody>
      </p:sp>
      <p:sp>
        <p:nvSpPr>
          <p:cNvPr id="174" name="PlaceHolder 3"/>
          <p:cNvSpPr>
            <a:spLocks noGrp="1"/>
          </p:cNvSpPr>
          <p:nvPr>
            <p:ph type="dt" idx="9"/>
          </p:nvPr>
        </p:nvSpPr>
        <p:spPr>
          <a:xfrm>
            <a:off x="360" y="0"/>
            <a:ext cx="31680" cy="360"/>
          </a:xfrm>
          <a:prstGeom prst="rect">
            <a:avLst/>
          </a:prstGeom>
          <a:noFill/>
          <a:ln w="0">
            <a:noFill/>
          </a:ln>
        </p:spPr>
        <p:txBody>
          <a:bodyPr lIns="90000" rIns="90000" tIns="45000" bIns="45000" anchor="t">
            <a:noAutofit/>
          </a:bodyPr>
          <a:lstStyle>
            <a:lvl1pPr>
              <a:defRPr b="0" lang="ru-RU" sz="1400" spc="-1" strike="noStrike">
                <a:latin typeface="Times New Roman"/>
              </a:defRPr>
            </a:lvl1pPr>
          </a:lstStyle>
          <a:p>
            <a:r>
              <a:rPr b="0" lang="ru-RU" sz="1400" spc="-1" strike="noStrike">
                <a:latin typeface="Times New Roman"/>
              </a:rPr>
              <a:t>&lt;дата/время&gt;</a:t>
            </a:r>
            <a:endParaRPr b="0" lang="ru-RU" sz="1400" spc="-1" strike="noStrike">
              <a:latin typeface="Times New Roman"/>
            </a:endParaRPr>
          </a:p>
        </p:txBody>
      </p:sp>
      <p:pic>
        <p:nvPicPr>
          <p:cNvPr id="175" name="" descr=""/>
          <p:cNvPicPr/>
          <p:nvPr/>
        </p:nvPicPr>
        <p:blipFill>
          <a:blip r:embed="rId12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6" name="" descr=""/>
          <p:cNvPicPr/>
          <p:nvPr/>
        </p:nvPicPr>
        <p:blipFill>
          <a:blip r:embed="rId1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77" name="PlaceHolder 4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352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8" name="PlaceHolder 5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352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Второ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Трети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ru-RU" sz="1800" spc="-1" strike="noStrike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  <a:endParaRPr b="0" lang="ru-RU" sz="1800" spc="-1" strike="noStrike">
              <a:solidFill>
                <a:srgbClr val="000000"/>
              </a:solidFill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Пяты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Шест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ru-RU" sz="2000" spc="-1" strike="noStrike">
                <a:solidFill>
                  <a:srgbClr val="000000"/>
                </a:solidFill>
                <a:latin typeface="Arial"/>
              </a:rPr>
              <a:t>Седьмой уровень структуры</a:t>
            </a:r>
            <a:endParaRPr b="0" lang="ru-RU" sz="2000" spc="-1" strike="noStrike">
              <a:solidFill>
                <a:srgbClr val="000000"/>
              </a:solidFill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43.png"/><Relationship Id="rId2" Type="http://schemas.openxmlformats.org/officeDocument/2006/relationships/slideLayout" Target="../slideLayouts/slideLayout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chart" Target="../charts/chart3.xml"/><Relationship Id="rId2" Type="http://schemas.openxmlformats.org/officeDocument/2006/relationships/slideLayout" Target="../slideLayouts/slideLayout29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chart" Target="../charts/chart4.xml"/><Relationship Id="rId2" Type="http://schemas.openxmlformats.org/officeDocument/2006/relationships/slideLayout" Target="../slideLayouts/slideLayout29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chart" Target="../charts/chart5.xml"/><Relationship Id="rId2" Type="http://schemas.openxmlformats.org/officeDocument/2006/relationships/slideLayout" Target="../slideLayouts/slideLayout29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image" Target="../media/image49.png"/><Relationship Id="rId2" Type="http://schemas.openxmlformats.org/officeDocument/2006/relationships/slideLayout" Target="../slideLayouts/slideLayout29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slideLayout" Target="../slideLayouts/slideLayout37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slideLayout" Target="../slideLayouts/slideLayout37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44.pn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45.png"/><Relationship Id="rId2" Type="http://schemas.openxmlformats.org/officeDocument/2006/relationships/slideLayout" Target="../slideLayouts/slideLayout13.xml"/><Relationship Id="rId3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chart" Target="../charts/chart1.xml"/><Relationship Id="rId2" Type="http://schemas.openxmlformats.org/officeDocument/2006/relationships/slideLayout" Target="../slideLayouts/slideLayout29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46.png"/><Relationship Id="rId2" Type="http://schemas.openxmlformats.org/officeDocument/2006/relationships/slideLayout" Target="../slideLayouts/slideLayout29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47.png"/><Relationship Id="rId2" Type="http://schemas.openxmlformats.org/officeDocument/2006/relationships/slideLayout" Target="../slideLayouts/slideLayout29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chart" Target="../charts/chart2.xml"/><Relationship Id="rId2" Type="http://schemas.openxmlformats.org/officeDocument/2006/relationships/slideLayout" Target="../slideLayouts/slideLayout29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48.png"/><Relationship Id="rId2" Type="http://schemas.openxmlformats.org/officeDocument/2006/relationships/slideLayout" Target="../slideLayouts/slideLayout29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Прямоугольник 2"/>
          <p:cNvSpPr/>
          <p:nvPr/>
        </p:nvSpPr>
        <p:spPr>
          <a:xfrm>
            <a:off x="1440" y="0"/>
            <a:ext cx="12191760" cy="6856560"/>
          </a:xfrm>
          <a:prstGeom prst="rect">
            <a:avLst/>
          </a:prstGeom>
          <a:solidFill>
            <a:srgbClr val="40c3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22" name="Рисунок 3" descr=""/>
          <p:cNvPicPr/>
          <p:nvPr/>
        </p:nvPicPr>
        <p:blipFill>
          <a:blip r:embed="rId1"/>
          <a:stretch/>
        </p:blipFill>
        <p:spPr>
          <a:xfrm>
            <a:off x="4944600" y="404640"/>
            <a:ext cx="7969680" cy="8471160"/>
          </a:xfrm>
          <a:prstGeom prst="rect">
            <a:avLst/>
          </a:prstGeom>
          <a:ln w="0">
            <a:noFill/>
          </a:ln>
        </p:spPr>
      </p:pic>
      <p:sp>
        <p:nvSpPr>
          <p:cNvPr id="223" name="Rectangle 2"/>
          <p:cNvSpPr/>
          <p:nvPr/>
        </p:nvSpPr>
        <p:spPr>
          <a:xfrm flipH="1">
            <a:off x="359280" y="2889360"/>
            <a:ext cx="44640" cy="70992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24" name="TextBox 6"/>
          <p:cNvSpPr/>
          <p:nvPr/>
        </p:nvSpPr>
        <p:spPr>
          <a:xfrm>
            <a:off x="212040" y="2190960"/>
            <a:ext cx="8617680" cy="5464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3000" spc="-1" strike="noStrike">
                <a:solidFill>
                  <a:srgbClr val="ffffff"/>
                </a:solidFill>
                <a:latin typeface="Gotham Pro"/>
                <a:ea typeface="Questrial"/>
              </a:rPr>
              <a:t>Интеллекуальная система управления</a:t>
            </a:r>
            <a:endParaRPr b="0" lang="ru-RU" sz="3000" spc="-1" strike="noStrike">
              <a:latin typeface="XO Oriel"/>
            </a:endParaRPr>
          </a:p>
        </p:txBody>
      </p:sp>
      <p:sp>
        <p:nvSpPr>
          <p:cNvPr id="225" name="TextBox 14"/>
          <p:cNvSpPr/>
          <p:nvPr/>
        </p:nvSpPr>
        <p:spPr>
          <a:xfrm>
            <a:off x="540000" y="2925360"/>
            <a:ext cx="598104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ffffff"/>
                </a:solidFill>
                <a:latin typeface="Calibri"/>
                <a:ea typeface="Questrial"/>
              </a:rPr>
              <a:t>В областном бюджетном учреждении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ffffff"/>
                </a:solidFill>
                <a:latin typeface="Calibri"/>
                <a:ea typeface="Questrial"/>
              </a:rPr>
              <a:t> </a:t>
            </a:r>
            <a:r>
              <a:rPr b="0" lang="ru-RU" sz="1800" spc="-1" strike="noStrike">
                <a:solidFill>
                  <a:srgbClr val="ffffff"/>
                </a:solidFill>
                <a:latin typeface="Calibri"/>
                <a:ea typeface="Questrial"/>
              </a:rPr>
              <a:t>«Центр социальной защиты населения Липецкой области»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26" name="TextBox 15"/>
          <p:cNvSpPr/>
          <p:nvPr/>
        </p:nvSpPr>
        <p:spPr>
          <a:xfrm>
            <a:off x="2682720" y="518760"/>
            <a:ext cx="181080" cy="51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5" name="Диаграмма 8"/>
          <p:cNvGraphicFramePr/>
          <p:nvPr/>
        </p:nvGraphicFramePr>
        <p:xfrm>
          <a:off x="2338200" y="1300680"/>
          <a:ext cx="6479280" cy="431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86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87" name="TextBox 10"/>
          <p:cNvSpPr/>
          <p:nvPr/>
        </p:nvSpPr>
        <p:spPr>
          <a:xfrm>
            <a:off x="338040" y="6004080"/>
            <a:ext cx="114948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До тиражирования ИСУ средняя доля отклонений от стандарта 25%, после внедрения – 5,3%.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88" name="Заголовок 1"/>
          <p:cNvSpPr/>
          <p:nvPr/>
        </p:nvSpPr>
        <p:spPr>
          <a:xfrm>
            <a:off x="122400" y="1004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Доля обращений, принятых с отклонением от установленного стандарта, снизилась на 80% после тиражирования ИСУ</a:t>
            </a:r>
            <a:endParaRPr b="0" lang="ru-RU" sz="2400" spc="-1" strike="noStrike">
              <a:latin typeface="XO Oriel"/>
            </a:endParaRPr>
          </a:p>
        </p:txBody>
      </p:sp>
      <p:sp>
        <p:nvSpPr>
          <p:cNvPr id="289" name="Прямая соединительная линия 2"/>
          <p:cNvSpPr/>
          <p:nvPr/>
        </p:nvSpPr>
        <p:spPr>
          <a:xfrm>
            <a:off x="3746160" y="2065680"/>
            <a:ext cx="19800" cy="2959920"/>
          </a:xfrm>
          <a:prstGeom prst="line">
            <a:avLst/>
          </a:prstGeom>
          <a:ln w="38100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90" name="TextBox 4"/>
          <p:cNvSpPr/>
          <p:nvPr/>
        </p:nvSpPr>
        <p:spPr>
          <a:xfrm>
            <a:off x="3812400" y="1696680"/>
            <a:ext cx="2761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тарт тиража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92" name="TextBox 2"/>
          <p:cNvSpPr/>
          <p:nvPr/>
        </p:nvSpPr>
        <p:spPr>
          <a:xfrm>
            <a:off x="168840" y="977400"/>
            <a:ext cx="10226880" cy="2406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Цели проекта до старта:</a:t>
            </a: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Повышение доли сотрудников, выполняющих нормативную нагрузку</a:t>
            </a: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Повышение внебюджетных поступлений от оказания доп. услуг гражданам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Дополнительные выгоды от реализации проекта:</a:t>
            </a: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20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Выявление проблем в работе информационных систем (АСП / Кондуит)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93" name="TextBox 5"/>
          <p:cNvSpPr/>
          <p:nvPr/>
        </p:nvSpPr>
        <p:spPr>
          <a:xfrm>
            <a:off x="115560" y="3756240"/>
            <a:ext cx="10226880" cy="394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Этапы проекта в 2022:</a:t>
            </a:r>
            <a:endParaRPr b="0" lang="ru-RU" sz="2000" spc="-1" strike="noStrike">
              <a:latin typeface="XO Oriel"/>
            </a:endParaRPr>
          </a:p>
        </p:txBody>
      </p:sp>
      <p:sp>
        <p:nvSpPr>
          <p:cNvPr id="294" name="Прямая со стрелкой 9"/>
          <p:cNvSpPr/>
          <p:nvPr/>
        </p:nvSpPr>
        <p:spPr>
          <a:xfrm>
            <a:off x="469440" y="5181480"/>
            <a:ext cx="10872000" cy="1872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575">
            <a:solidFill>
              <a:srgbClr val="333f48"/>
            </a:solidFill>
            <a:tailEnd len="med" type="triangl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95" name="Правая фигурная скобка 10"/>
          <p:cNvSpPr/>
          <p:nvPr/>
        </p:nvSpPr>
        <p:spPr>
          <a:xfrm rot="5400000">
            <a:off x="1460520" y="4201920"/>
            <a:ext cx="591480" cy="2570760"/>
          </a:xfrm>
          <a:prstGeom prst="rightBrace">
            <a:avLst>
              <a:gd name="adj1" fmla="val 45621"/>
              <a:gd name="adj2" fmla="val 50000"/>
            </a:avLst>
          </a:prstGeom>
          <a:noFill/>
          <a:ln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96" name="Прямоугольник 12"/>
          <p:cNvSpPr/>
          <p:nvPr/>
        </p:nvSpPr>
        <p:spPr>
          <a:xfrm>
            <a:off x="2900160" y="4652640"/>
            <a:ext cx="803880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Тиражирование на весь регион и сопровождение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97" name="Прямоугольник 14"/>
          <p:cNvSpPr/>
          <p:nvPr/>
        </p:nvSpPr>
        <p:spPr>
          <a:xfrm>
            <a:off x="1129680" y="5859720"/>
            <a:ext cx="1249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Май-июнь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98" name="Правая фигурная скобка 15"/>
          <p:cNvSpPr/>
          <p:nvPr/>
        </p:nvSpPr>
        <p:spPr>
          <a:xfrm rot="5400000">
            <a:off x="6775200" y="1447560"/>
            <a:ext cx="591480" cy="8056440"/>
          </a:xfrm>
          <a:prstGeom prst="rightBrace">
            <a:avLst>
              <a:gd name="adj1" fmla="val 45621"/>
              <a:gd name="adj2" fmla="val 50000"/>
            </a:avLst>
          </a:prstGeom>
          <a:noFill/>
          <a:ln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99" name="Прямоугольник 16"/>
          <p:cNvSpPr/>
          <p:nvPr/>
        </p:nvSpPr>
        <p:spPr>
          <a:xfrm>
            <a:off x="6342120" y="5872320"/>
            <a:ext cx="170856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Июль-декабрь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0" name="Прямоугольник 17"/>
          <p:cNvSpPr/>
          <p:nvPr/>
        </p:nvSpPr>
        <p:spPr>
          <a:xfrm>
            <a:off x="668880" y="4632480"/>
            <a:ext cx="200484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Пилот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1" name="Скругленный прямоугольник 39"/>
          <p:cNvSpPr/>
          <p:nvPr/>
        </p:nvSpPr>
        <p:spPr>
          <a:xfrm>
            <a:off x="1020240" y="26892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2. Функциональный блок «Обслуживание граждан на дому» </a:t>
            </a:r>
            <a:endParaRPr b="0" lang="ru-RU" sz="1800" spc="-1" strike="noStrike">
              <a:latin typeface="XO Oriel"/>
            </a:endParaRPr>
          </a:p>
        </p:txBody>
      </p:sp>
    </p:spTree>
  </p:cSld>
  <p:transition spd="slow">
    <p:fade/>
  </p:transition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03" name="TextBox 4"/>
          <p:cNvSpPr/>
          <p:nvPr/>
        </p:nvSpPr>
        <p:spPr>
          <a:xfrm>
            <a:off x="3140640" y="1435320"/>
            <a:ext cx="6824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выставленных задач ИСУ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4" name="TextBox 7"/>
          <p:cNvSpPr/>
          <p:nvPr/>
        </p:nvSpPr>
        <p:spPr>
          <a:xfrm>
            <a:off x="3140640" y="3989520"/>
            <a:ext cx="661896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сотрудников, получивших задачи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5" name="TextBox 8"/>
          <p:cNvSpPr/>
          <p:nvPr/>
        </p:nvSpPr>
        <p:spPr>
          <a:xfrm>
            <a:off x="3140640" y="5266800"/>
            <a:ext cx="4912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отрудников, попавших в отклонения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6" name="TextBox 9"/>
          <p:cNvSpPr/>
          <p:nvPr/>
        </p:nvSpPr>
        <p:spPr>
          <a:xfrm>
            <a:off x="3140640" y="2712240"/>
            <a:ext cx="6824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используемых алгоритмов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07" name="TextBox 1"/>
          <p:cNvSpPr/>
          <p:nvPr/>
        </p:nvSpPr>
        <p:spPr>
          <a:xfrm>
            <a:off x="387720" y="115812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10225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308" name="TextBox 10"/>
          <p:cNvSpPr/>
          <p:nvPr/>
        </p:nvSpPr>
        <p:spPr>
          <a:xfrm>
            <a:off x="1305360" y="245664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8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309" name="TextBox 11"/>
          <p:cNvSpPr/>
          <p:nvPr/>
        </p:nvSpPr>
        <p:spPr>
          <a:xfrm>
            <a:off x="858240" y="367704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899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310" name="TextBox 12"/>
          <p:cNvSpPr/>
          <p:nvPr/>
        </p:nvSpPr>
        <p:spPr>
          <a:xfrm>
            <a:off x="858240" y="504648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945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311" name="Скругленный прямоугольник 39"/>
          <p:cNvSpPr/>
          <p:nvPr/>
        </p:nvSpPr>
        <p:spPr>
          <a:xfrm>
            <a:off x="858240" y="42048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Масштаб внедрения ИСУ в блоке «Обслуживание граждан на дому» - итоги 2022 г. </a:t>
            </a:r>
            <a:endParaRPr b="0" lang="ru-RU" sz="1800" spc="-1" strike="noStrike">
              <a:latin typeface="XO Oriel"/>
            </a:endParaRPr>
          </a:p>
        </p:txBody>
      </p:sp>
    </p:spTree>
  </p:cSld>
  <p:transition spd="slow">
    <p:fade/>
  </p:transition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2" name="Диаграмма 9"/>
          <p:cNvGraphicFramePr/>
          <p:nvPr/>
        </p:nvGraphicFramePr>
        <p:xfrm>
          <a:off x="2007720" y="1281960"/>
          <a:ext cx="6479280" cy="431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313" name="Заголовок 1"/>
          <p:cNvSpPr/>
          <p:nvPr/>
        </p:nvSpPr>
        <p:spPr>
          <a:xfrm>
            <a:off x="163080" y="14796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14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15" name="TextBox 10"/>
          <p:cNvSpPr/>
          <p:nvPr/>
        </p:nvSpPr>
        <p:spPr>
          <a:xfrm>
            <a:off x="338040" y="5918760"/>
            <a:ext cx="114948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До тиражирования ИСУ средняя доля сотрудников, выполняющих норматив составляла 64%, после внедрения – 75%.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16" name="Заголовок 1"/>
          <p:cNvSpPr/>
          <p:nvPr/>
        </p:nvSpPr>
        <p:spPr>
          <a:xfrm>
            <a:off x="123840" y="34128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Доля сотрудников, выполняющих нормативную нагрузку, увеличилась на 16% после тиражирования ИСУ</a:t>
            </a:r>
            <a:endParaRPr b="0" lang="ru-RU" sz="2400" spc="-1" strike="noStrike">
              <a:latin typeface="XO Oriel"/>
            </a:endParaRPr>
          </a:p>
        </p:txBody>
      </p:sp>
      <p:sp>
        <p:nvSpPr>
          <p:cNvPr id="317" name="Прямая соединительная линия 2"/>
          <p:cNvSpPr/>
          <p:nvPr/>
        </p:nvSpPr>
        <p:spPr>
          <a:xfrm>
            <a:off x="4164840" y="2377080"/>
            <a:ext cx="19800" cy="2959920"/>
          </a:xfrm>
          <a:prstGeom prst="line">
            <a:avLst/>
          </a:prstGeom>
          <a:ln w="38100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18" name="TextBox 4"/>
          <p:cNvSpPr/>
          <p:nvPr/>
        </p:nvSpPr>
        <p:spPr>
          <a:xfrm>
            <a:off x="3866400" y="1875960"/>
            <a:ext cx="2761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тарт тиража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9" name="Диаграмма 9"/>
          <p:cNvGraphicFramePr/>
          <p:nvPr/>
        </p:nvGraphicFramePr>
        <p:xfrm>
          <a:off x="2577600" y="1281960"/>
          <a:ext cx="6479280" cy="431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320" name="Заголовок 1"/>
          <p:cNvSpPr/>
          <p:nvPr/>
        </p:nvSpPr>
        <p:spPr>
          <a:xfrm>
            <a:off x="294120" y="40140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21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22" name="TextBox 10"/>
          <p:cNvSpPr/>
          <p:nvPr/>
        </p:nvSpPr>
        <p:spPr>
          <a:xfrm>
            <a:off x="338040" y="5918760"/>
            <a:ext cx="114948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До тиражирования ИСУ среднемесячные поступления – 2,94 млн; после внедрения – 3,4 млн.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323" name="Заголовок 1"/>
          <p:cNvSpPr/>
          <p:nvPr/>
        </p:nvSpPr>
        <p:spPr>
          <a:xfrm>
            <a:off x="276120" y="3326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Внебюджетные поступления от оказания дополнительных услуг выросли на 17% </a:t>
            </a:r>
            <a:endParaRPr b="0" lang="ru-RU" sz="2400" spc="-1" strike="noStrike">
              <a:latin typeface="XO Oriel"/>
            </a:endParaRPr>
          </a:p>
        </p:txBody>
      </p:sp>
      <p:sp>
        <p:nvSpPr>
          <p:cNvPr id="324" name="Прямая соединительная линия 2"/>
          <p:cNvSpPr/>
          <p:nvPr/>
        </p:nvSpPr>
        <p:spPr>
          <a:xfrm>
            <a:off x="4611960" y="2365560"/>
            <a:ext cx="19800" cy="2959920"/>
          </a:xfrm>
          <a:prstGeom prst="line">
            <a:avLst/>
          </a:prstGeom>
          <a:ln w="38100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25" name="TextBox 4"/>
          <p:cNvSpPr/>
          <p:nvPr/>
        </p:nvSpPr>
        <p:spPr>
          <a:xfrm>
            <a:off x="4204440" y="1838160"/>
            <a:ext cx="2761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тарт тиража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Заголовок 1"/>
          <p:cNvSpPr/>
          <p:nvPr/>
        </p:nvSpPr>
        <p:spPr>
          <a:xfrm>
            <a:off x="0" y="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Направления развития ИСУ во 2 полугодии 2022 – запуск задач по выполнению договоров на оказание гарантированных услуг</a:t>
            </a:r>
            <a:endParaRPr b="0" lang="ru-RU" sz="2400" spc="-1" strike="noStrike">
              <a:latin typeface="XO Oriel"/>
            </a:endParaRPr>
          </a:p>
        </p:txBody>
      </p:sp>
      <p:pic>
        <p:nvPicPr>
          <p:cNvPr id="327" name="Рисунок 7" descr=""/>
          <p:cNvPicPr/>
          <p:nvPr/>
        </p:nvPicPr>
        <p:blipFill>
          <a:blip r:embed="rId1"/>
          <a:srcRect l="0" t="0" r="2461" b="5302"/>
          <a:stretch/>
        </p:blipFill>
        <p:spPr>
          <a:xfrm>
            <a:off x="668880" y="817200"/>
            <a:ext cx="10522080" cy="5744880"/>
          </a:xfrm>
          <a:prstGeom prst="rect">
            <a:avLst/>
          </a:prstGeom>
          <a:ln w="0">
            <a:solidFill>
              <a:srgbClr val="333f48"/>
            </a:solidFill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TextBox 13"/>
          <p:cNvSpPr/>
          <p:nvPr/>
        </p:nvSpPr>
        <p:spPr>
          <a:xfrm>
            <a:off x="250200" y="1124640"/>
            <a:ext cx="11269080" cy="3740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3999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1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Внедрение ИСУ в функциональном блоке «Назначение мер социальной поддержки»: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зволило сократить долю возвратов на доработку на 65%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зволило снизить количество обращений, обработанных не по стандарту на 80%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Имеет высокий потенциал повышения эффективности для сокращения сроков обработки обращений.</a:t>
            </a:r>
            <a:endParaRPr b="0" lang="ru-RU" sz="1600" spc="-1" strike="noStrike">
              <a:latin typeface="XO Oriel"/>
            </a:endParaRPr>
          </a:p>
          <a:p>
            <a:pPr>
              <a:lnSpc>
                <a:spcPct val="15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>
              <a:lnSpc>
                <a:spcPct val="150000"/>
              </a:lnSpc>
              <a:buNone/>
            </a:pPr>
            <a:r>
              <a:rPr b="1" lang="en-US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II</a:t>
            </a:r>
            <a:r>
              <a:rPr b="1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. Внедрение ИСУ в функциональном блоке «Назначение мер социальной поддержки»: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зволило повысить долю сотрудников, выполняющих норматив, на 16%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могла повысить внебюджетные поступления от оказания услуг на 17%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могла выявить проблемы с учётными системами.</a:t>
            </a:r>
            <a:endParaRPr b="0" lang="ru-RU" sz="1600" spc="-1" strike="noStrike">
              <a:latin typeface="XO Oriel"/>
            </a:endParaRPr>
          </a:p>
          <a:p>
            <a:pPr>
              <a:lnSpc>
                <a:spcPct val="150000"/>
              </a:lnSpc>
              <a:buNone/>
            </a:pPr>
            <a:endParaRPr b="0" lang="ru-RU" sz="1600" spc="-1" strike="noStrike">
              <a:latin typeface="XO Oriel"/>
            </a:endParaRPr>
          </a:p>
        </p:txBody>
      </p:sp>
      <p:sp>
        <p:nvSpPr>
          <p:cNvPr id="329" name="Скругленный прямоугольник 39"/>
          <p:cNvSpPr/>
          <p:nvPr/>
        </p:nvSpPr>
        <p:spPr>
          <a:xfrm>
            <a:off x="768240" y="18864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Итоги работы ИСУ в 2022 году: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" name="TextBox 13"/>
          <p:cNvSpPr/>
          <p:nvPr/>
        </p:nvSpPr>
        <p:spPr>
          <a:xfrm>
            <a:off x="284040" y="1124640"/>
            <a:ext cx="11431800" cy="4105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3999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1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ФБ «Назначение мер социальной поддержки»: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Равномерное распределение новых обращений с учётом загрузки сотрудников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Снижение сроков обработки обращений сотрудниками (без СМЭВ);</a:t>
            </a:r>
            <a:endParaRPr b="0" lang="ru-RU" sz="1600" spc="-1" strike="noStrike">
              <a:latin typeface="XO Oriel"/>
            </a:endParaRPr>
          </a:p>
          <a:p>
            <a:pPr marL="457200">
              <a:lnSpc>
                <a:spcPct val="150000"/>
              </a:lnSpc>
              <a:buNone/>
            </a:pPr>
            <a:endParaRPr b="0" lang="ru-RU" sz="1600" spc="-1" strike="noStrike">
              <a:latin typeface="XO Oriel"/>
            </a:endParaRPr>
          </a:p>
          <a:p>
            <a:pPr marL="457200">
              <a:lnSpc>
                <a:spcPct val="150000"/>
              </a:lnSpc>
              <a:buNone/>
            </a:pPr>
            <a:r>
              <a:rPr b="1" lang="en-US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II</a:t>
            </a:r>
            <a:r>
              <a:rPr b="1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. ФБ «Обслуживание граждан на дому»: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Еженедельный/ежемесячный мониторинг выполнения договорных обязательство по предоставлению гарантированных услуг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вышение доходов от предоставления гарантированных услуг;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Мониторинг фактической геопозиции предоставления услуг гражданам и соотношение с местом жительства гражданина .</a:t>
            </a:r>
            <a:endParaRPr b="0" lang="ru-RU" sz="1600" spc="-1" strike="noStrike">
              <a:latin typeface="XO Oriel"/>
            </a:endParaRPr>
          </a:p>
          <a:p>
            <a:pPr lvl="1" marL="857160" indent="-399960">
              <a:lnSpc>
                <a:spcPct val="150000"/>
              </a:lnSpc>
              <a:buClr>
                <a:srgbClr val="1c1c1c"/>
              </a:buClr>
              <a:buFont typeface="StarSymbol"/>
              <a:buAutoNum type="romanUcPeriod"/>
            </a:pPr>
            <a:r>
              <a:rPr b="0" lang="ru-RU" sz="1600" spc="-1" strike="noStrike">
                <a:solidFill>
                  <a:srgbClr val="1c1c1c"/>
                </a:solidFill>
                <a:latin typeface="Georgia"/>
                <a:ea typeface="DejaVu Sans"/>
              </a:rPr>
              <a:t>Повышение утилизации рабочего времени.</a:t>
            </a:r>
            <a:endParaRPr b="0" lang="ru-RU" sz="1600" spc="-1" strike="noStrike">
              <a:latin typeface="XO Oriel"/>
            </a:endParaRPr>
          </a:p>
        </p:txBody>
      </p:sp>
      <p:sp>
        <p:nvSpPr>
          <p:cNvPr id="331" name="TextBox 3"/>
          <p:cNvSpPr/>
          <p:nvPr/>
        </p:nvSpPr>
        <p:spPr>
          <a:xfrm>
            <a:off x="8220240" y="461520"/>
            <a:ext cx="3609720" cy="367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332" name="Скругленный прямоугольник 39"/>
          <p:cNvSpPr/>
          <p:nvPr/>
        </p:nvSpPr>
        <p:spPr>
          <a:xfrm>
            <a:off x="912240" y="23004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Предложения по развитию ИСУ на 2023 год: 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2fd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Скругленный прямоугольник 39"/>
          <p:cNvSpPr/>
          <p:nvPr/>
        </p:nvSpPr>
        <p:spPr>
          <a:xfrm>
            <a:off x="936000" y="20664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Интеллектуальная система управления – новые решения цифровизации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28" name="Скругленный прямоугольник 6"/>
          <p:cNvSpPr/>
          <p:nvPr/>
        </p:nvSpPr>
        <p:spPr>
          <a:xfrm>
            <a:off x="180000" y="900000"/>
            <a:ext cx="4385160" cy="2699280"/>
          </a:xfrm>
          <a:prstGeom prst="roundRect">
            <a:avLst>
              <a:gd name="adj" fmla="val 3657"/>
            </a:avLst>
          </a:prstGeom>
          <a:gradFill rotWithShape="0">
            <a:gsLst>
              <a:gs pos="0">
                <a:srgbClr val="2dbdec"/>
              </a:gs>
              <a:gs pos="100000">
                <a:srgbClr val="3a87a6"/>
              </a:gs>
            </a:gsLst>
            <a:lin ang="54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000000"/>
                </a:solidFill>
                <a:latin typeface="XO Oriel"/>
                <a:ea typeface="DejaVu Sans"/>
              </a:rPr>
              <a:t>  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29" name="Текст 2"/>
          <p:cNvSpPr/>
          <p:nvPr/>
        </p:nvSpPr>
        <p:spPr>
          <a:xfrm>
            <a:off x="394920" y="889920"/>
            <a:ext cx="4104720" cy="1997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90000" tIns="45000" bIns="45000" anchor="ctr">
            <a:noAutofit/>
          </a:bodyPr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spcBef>
                <a:spcPts val="601"/>
              </a:spcBef>
              <a:buNone/>
              <a:tabLst>
                <a:tab algn="l" pos="0"/>
              </a:tabLst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SB Sans Display"/>
              </a:rPr>
              <a:t>Интеллектуальная система управления (разработчик – Сбер Корус):</a:t>
            </a:r>
            <a:endParaRPr b="0" lang="ru-RU" sz="1400" spc="-1" strike="noStrike">
              <a:latin typeface="XO Oriel"/>
            </a:endParaRPr>
          </a:p>
          <a:p>
            <a:pPr marL="228600" indent="-228600" algn="just">
              <a:lnSpc>
                <a:spcPct val="100000"/>
              </a:lnSpc>
              <a:spcBef>
                <a:spcPts val="601"/>
              </a:spcBef>
              <a:buClr>
                <a:srgbClr val="ffffff"/>
              </a:buClr>
              <a:buFont typeface="Wingdings" charset="2"/>
              <a:buChar char=""/>
              <a:tabLst>
                <a:tab algn="l" pos="0"/>
              </a:tabLst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SB Sans Display"/>
              </a:rPr>
              <a:t>автоматически отслеживает различные параметры эффективности действий сотрудника («цифровые следы» в информационных системах: АC АСП, «Кондуит» и др.) </a:t>
            </a:r>
            <a:endParaRPr b="0" lang="ru-RU" sz="1400" spc="-1" strike="noStrike">
              <a:latin typeface="XO Oriel"/>
            </a:endParaRPr>
          </a:p>
          <a:p>
            <a:pPr marL="228600" indent="-228600" algn="just">
              <a:lnSpc>
                <a:spcPct val="100000"/>
              </a:lnSpc>
              <a:spcBef>
                <a:spcPts val="601"/>
              </a:spcBef>
              <a:buClr>
                <a:srgbClr val="ffffff"/>
              </a:buClr>
              <a:buFont typeface="Wingdings" charset="2"/>
              <a:buChar char=""/>
              <a:tabLst>
                <a:tab algn="l" pos="0"/>
              </a:tabLst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SB Sans Display"/>
              </a:rPr>
              <a:t>направляет его руководителю задачу с описанием отклонения и набором действий для его исправления</a:t>
            </a:r>
            <a:endParaRPr b="0" lang="ru-RU" sz="1400" spc="-1" strike="noStrike">
              <a:latin typeface="XO Oriel"/>
            </a:endParaRPr>
          </a:p>
        </p:txBody>
      </p:sp>
      <p:sp>
        <p:nvSpPr>
          <p:cNvPr id="230" name="TextBox 18"/>
          <p:cNvSpPr/>
          <p:nvPr/>
        </p:nvSpPr>
        <p:spPr>
          <a:xfrm>
            <a:off x="355680" y="4974120"/>
            <a:ext cx="4163760" cy="1549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31" name="Скругленный прямоугольник 7"/>
          <p:cNvSpPr/>
          <p:nvPr/>
        </p:nvSpPr>
        <p:spPr>
          <a:xfrm>
            <a:off x="8115120" y="1080000"/>
            <a:ext cx="3867120" cy="4679640"/>
          </a:xfrm>
          <a:prstGeom prst="roundRect">
            <a:avLst>
              <a:gd name="adj" fmla="val 3664"/>
            </a:avLst>
          </a:prstGeom>
          <a:solidFill>
            <a:schemeClr val="bg1"/>
          </a:soli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32" name="TextBox 19"/>
          <p:cNvSpPr/>
          <p:nvPr/>
        </p:nvSpPr>
        <p:spPr>
          <a:xfrm>
            <a:off x="8224200" y="2030040"/>
            <a:ext cx="3753360" cy="3009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Личный кабинет 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руководителя и сотрудника, с перечнем задач и необходимых действий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1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Комплект компьютерных алгоритмов 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Автоматический поиск проблем, требующих решения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1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Задачи для руководителей и сотрудников </a:t>
            </a:r>
            <a:br>
              <a:rPr sz="1200"/>
            </a:b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с детальным описанием найденных системой отклонений и шагов по их исправлению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1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Аналитический дашборд </a:t>
            </a:r>
            <a:endParaRPr b="0" lang="ru-RU" sz="12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все метрики по эффективности сотрудников и качеству отработки задач ИСУ в одном окне</a:t>
            </a:r>
            <a:endParaRPr b="0" lang="ru-RU" sz="1200" spc="-1" strike="noStrike">
              <a:latin typeface="XO Oriel"/>
            </a:endParaRPr>
          </a:p>
        </p:txBody>
      </p:sp>
      <p:sp>
        <p:nvSpPr>
          <p:cNvPr id="233" name="Прямоугольник 4"/>
          <p:cNvSpPr/>
          <p:nvPr/>
        </p:nvSpPr>
        <p:spPr>
          <a:xfrm>
            <a:off x="8280720" y="1440000"/>
            <a:ext cx="188352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spcAft>
                <a:spcPts val="1199"/>
              </a:spcAft>
              <a:buNone/>
            </a:pPr>
            <a:r>
              <a:rPr b="1" lang="ru-RU" sz="1400" spc="-1" strike="noStrike">
                <a:solidFill>
                  <a:srgbClr val="3f3f3f"/>
                </a:solidFill>
                <a:latin typeface="SB Sans Text"/>
                <a:ea typeface="Roboto"/>
              </a:rPr>
              <a:t>Состав решения:</a:t>
            </a:r>
            <a:endParaRPr b="0" lang="ru-RU" sz="1400" spc="-1" strike="noStrike">
              <a:latin typeface="XO Oriel"/>
            </a:endParaRPr>
          </a:p>
        </p:txBody>
      </p:sp>
      <p:sp>
        <p:nvSpPr>
          <p:cNvPr id="234" name="Прямоугольник 5"/>
          <p:cNvSpPr/>
          <p:nvPr/>
        </p:nvSpPr>
        <p:spPr>
          <a:xfrm>
            <a:off x="4856760" y="4947480"/>
            <a:ext cx="7125840" cy="20970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35" name="Скругленный прямоугольник 8"/>
          <p:cNvSpPr/>
          <p:nvPr/>
        </p:nvSpPr>
        <p:spPr>
          <a:xfrm>
            <a:off x="4730040" y="1484640"/>
            <a:ext cx="3177360" cy="3650760"/>
          </a:xfrm>
          <a:prstGeom prst="roundRect">
            <a:avLst>
              <a:gd name="adj" fmla="val 3664"/>
            </a:avLst>
          </a:prstGeom>
          <a:solidFill>
            <a:schemeClr val="bg1"/>
          </a:soli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36" name="TextBox 20"/>
          <p:cNvSpPr/>
          <p:nvPr/>
        </p:nvSpPr>
        <p:spPr>
          <a:xfrm>
            <a:off x="4870800" y="2276640"/>
            <a:ext cx="2809800" cy="2144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marL="343080" indent="-343080">
              <a:lnSpc>
                <a:spcPct val="100000"/>
              </a:lnSpc>
              <a:spcBef>
                <a:spcPts val="601"/>
              </a:spcBef>
              <a:buClr>
                <a:srgbClr val="3f3f3f"/>
              </a:buClr>
              <a:buFont typeface="SB Sans Display Semibold"/>
              <a:buAutoNum type="arabicPeriod"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Повысить эффективность работы сотрудников за счет автоматизации контроля</a:t>
            </a:r>
            <a:endParaRPr b="0" lang="ru-RU" sz="12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spcBef>
                <a:spcPts val="601"/>
              </a:spcBef>
              <a:buClr>
                <a:srgbClr val="3f3f3f"/>
              </a:buClr>
              <a:buFont typeface="SB Sans Display Semibold"/>
              <a:buAutoNum type="arabicPeriod"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Сократить время на анализ показателей за счет получения данных «в едином окне»</a:t>
            </a:r>
            <a:endParaRPr b="0" lang="ru-RU" sz="12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spcBef>
                <a:spcPts val="601"/>
              </a:spcBef>
              <a:buClr>
                <a:srgbClr val="3f3f3f"/>
              </a:buClr>
              <a:buFont typeface="SB Sans Display Semibold"/>
              <a:buAutoNum type="arabicPeriod"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Ускорить обслуживание заявителей и сократить жалобы</a:t>
            </a:r>
            <a:endParaRPr b="0" lang="ru-RU" sz="12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spcBef>
                <a:spcPts val="601"/>
              </a:spcBef>
              <a:buClr>
                <a:srgbClr val="3f3f3f"/>
              </a:buClr>
              <a:buFont typeface="SB Sans Display Semibold"/>
              <a:buAutoNum type="arabicPeriod"/>
            </a:pPr>
            <a:r>
              <a:rPr b="0" lang="ru-RU" sz="1200" spc="-1" strike="noStrike">
                <a:solidFill>
                  <a:srgbClr val="3f3f3f"/>
                </a:solidFill>
                <a:latin typeface="SB Sans Text"/>
                <a:ea typeface="Roboto"/>
              </a:rPr>
              <a:t>Развивать систему управления через наставничество</a:t>
            </a:r>
            <a:endParaRPr b="0" lang="ru-RU" sz="1200" spc="-1" strike="noStrike">
              <a:latin typeface="XO Oriel"/>
            </a:endParaRPr>
          </a:p>
        </p:txBody>
      </p:sp>
      <p:sp>
        <p:nvSpPr>
          <p:cNvPr id="237" name="Прямоугольник 6"/>
          <p:cNvSpPr/>
          <p:nvPr/>
        </p:nvSpPr>
        <p:spPr>
          <a:xfrm>
            <a:off x="5170320" y="1857240"/>
            <a:ext cx="1850040" cy="302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1400" spc="-1" strike="noStrike">
                <a:solidFill>
                  <a:srgbClr val="3f3f3f"/>
                </a:solidFill>
                <a:latin typeface="SB Sans Text"/>
                <a:ea typeface="Roboto"/>
              </a:rPr>
              <a:t>Задачи сервиса:</a:t>
            </a:r>
            <a:endParaRPr b="0" lang="ru-RU" sz="1400" spc="-1" strike="noStrike">
              <a:latin typeface="XO Oriel"/>
            </a:endParaRPr>
          </a:p>
        </p:txBody>
      </p:sp>
      <p:sp>
        <p:nvSpPr>
          <p:cNvPr id="238" name="Скругленный прямоугольник 6"/>
          <p:cNvSpPr/>
          <p:nvPr/>
        </p:nvSpPr>
        <p:spPr>
          <a:xfrm>
            <a:off x="114480" y="3896280"/>
            <a:ext cx="4385160" cy="2699280"/>
          </a:xfrm>
          <a:prstGeom prst="roundRect">
            <a:avLst>
              <a:gd name="adj" fmla="val 3657"/>
            </a:avLst>
          </a:prstGeom>
          <a:gradFill rotWithShape="0">
            <a:gsLst>
              <a:gs pos="0">
                <a:srgbClr val="2dbdec"/>
              </a:gs>
              <a:gs pos="100000">
                <a:srgbClr val="3a87a6"/>
              </a:gs>
            </a:gsLst>
            <a:lin ang="54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ffffff"/>
                </a:solidFill>
                <a:latin typeface="SB Sans Text"/>
                <a:ea typeface="DejaVu Sans"/>
              </a:rPr>
              <a:t>  </a:t>
            </a:r>
            <a:endParaRPr b="0" lang="ru-RU" sz="18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DejaVu Sans"/>
              </a:rPr>
              <a:t>В ОБУ «Центр социальной защиты населения Липецкой области» решение внедрено: 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ffffff"/>
              </a:buClr>
              <a:buFont typeface="StarSymbol"/>
              <a:buAutoNum type="arabicPeriod"/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DejaVu Sans"/>
              </a:rPr>
              <a:t>В функциональном блоке «Меры социальной поддержки».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14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ffffff"/>
              </a:buClr>
              <a:buFont typeface="StarSymbol"/>
              <a:buAutoNum type="arabicPeriod"/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DejaVu Sans"/>
              </a:rPr>
              <a:t>В функциональном блоке «Социальное обслуживание граждан».</a:t>
            </a:r>
            <a:endParaRPr b="0" lang="ru-RU" sz="14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r>
              <a:rPr b="0" lang="ru-RU" sz="1400" spc="-1" strike="noStrike">
                <a:solidFill>
                  <a:srgbClr val="ffffff"/>
                </a:solidFill>
                <a:latin typeface="SB Sans Text"/>
                <a:ea typeface="DejaVu Sans"/>
              </a:rPr>
              <a:t> </a:t>
            </a:r>
            <a:endParaRPr b="0" lang="ru-RU" sz="14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TextBox 2"/>
          <p:cNvSpPr/>
          <p:nvPr/>
        </p:nvSpPr>
        <p:spPr>
          <a:xfrm>
            <a:off x="299880" y="980640"/>
            <a:ext cx="11369880" cy="13399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Цели проекта:</a:t>
            </a: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Повышение качества работы с обращениями (снижение количества возвратов на доработку)</a:t>
            </a: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нижение сроков обработки обращений граждан</a:t>
            </a: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тандартизация процесса оказания услуг населению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40" name="TextBox 5"/>
          <p:cNvSpPr/>
          <p:nvPr/>
        </p:nvSpPr>
        <p:spPr>
          <a:xfrm>
            <a:off x="264240" y="4201200"/>
            <a:ext cx="10226880" cy="394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Этапы проекта в 2022:</a:t>
            </a:r>
            <a:endParaRPr b="0" lang="ru-RU" sz="2000" spc="-1" strike="noStrike">
              <a:latin typeface="XO Oriel"/>
            </a:endParaRPr>
          </a:p>
        </p:txBody>
      </p:sp>
      <p:sp>
        <p:nvSpPr>
          <p:cNvPr id="241" name="Прямая со стрелкой 9"/>
          <p:cNvSpPr/>
          <p:nvPr/>
        </p:nvSpPr>
        <p:spPr>
          <a:xfrm>
            <a:off x="502560" y="5604480"/>
            <a:ext cx="10872000" cy="1872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28575">
            <a:solidFill>
              <a:srgbClr val="333f48"/>
            </a:solidFill>
            <a:tailEnd len="med" type="triangl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42" name="Правая фигурная скобка 10"/>
          <p:cNvSpPr/>
          <p:nvPr/>
        </p:nvSpPr>
        <p:spPr>
          <a:xfrm rot="5400000">
            <a:off x="1493640" y="4624920"/>
            <a:ext cx="591480" cy="2570760"/>
          </a:xfrm>
          <a:prstGeom prst="rightBrace">
            <a:avLst>
              <a:gd name="adj1" fmla="val 45621"/>
              <a:gd name="adj2" fmla="val 50000"/>
            </a:avLst>
          </a:prstGeom>
          <a:noFill/>
          <a:ln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43" name="Прямоугольник 12"/>
          <p:cNvSpPr/>
          <p:nvPr/>
        </p:nvSpPr>
        <p:spPr>
          <a:xfrm>
            <a:off x="2933280" y="5075640"/>
            <a:ext cx="803880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Тиражирование на весь регион и сопровождение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44" name="Прямоугольник 14"/>
          <p:cNvSpPr/>
          <p:nvPr/>
        </p:nvSpPr>
        <p:spPr>
          <a:xfrm>
            <a:off x="815040" y="6282720"/>
            <a:ext cx="198000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Январь-февраль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45" name="Правая фигурная скобка 15"/>
          <p:cNvSpPr/>
          <p:nvPr/>
        </p:nvSpPr>
        <p:spPr>
          <a:xfrm rot="5400000">
            <a:off x="6808680" y="1870560"/>
            <a:ext cx="591480" cy="8056440"/>
          </a:xfrm>
          <a:prstGeom prst="rightBrace">
            <a:avLst>
              <a:gd name="adj1" fmla="val 45621"/>
              <a:gd name="adj2" fmla="val 50000"/>
            </a:avLst>
          </a:prstGeom>
          <a:noFill/>
          <a:ln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46" name="Прямоугольник 16"/>
          <p:cNvSpPr/>
          <p:nvPr/>
        </p:nvSpPr>
        <p:spPr>
          <a:xfrm>
            <a:off x="6393960" y="6295320"/>
            <a:ext cx="167184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Март-декабрь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47" name="Прямоугольник 17"/>
          <p:cNvSpPr/>
          <p:nvPr/>
        </p:nvSpPr>
        <p:spPr>
          <a:xfrm>
            <a:off x="722160" y="4945320"/>
            <a:ext cx="200484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нец пилотного внедрения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48" name="TextBox 11"/>
          <p:cNvSpPr/>
          <p:nvPr/>
        </p:nvSpPr>
        <p:spPr>
          <a:xfrm>
            <a:off x="296640" y="2709000"/>
            <a:ext cx="11369880" cy="1065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2000" spc="-1" strike="noStrike">
                <a:solidFill>
                  <a:srgbClr val="333f48"/>
                </a:solidFill>
                <a:latin typeface="SB Sans Text"/>
                <a:ea typeface="DejaVu Sans"/>
              </a:rPr>
              <a:t>Дополнительные выгоды от реализации проекта:</a:t>
            </a:r>
            <a:endParaRPr b="0" lang="ru-RU" sz="2000" spc="-1" strike="noStrike">
              <a:latin typeface="XO Oriel"/>
            </a:endParaRPr>
          </a:p>
          <a:p>
            <a:pPr>
              <a:lnSpc>
                <a:spcPct val="100000"/>
              </a:lnSpc>
              <a:buNone/>
            </a:pPr>
            <a:endParaRPr b="0" lang="ru-RU" sz="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Доступность аналитики по СМЭВ запросам</a:t>
            </a:r>
            <a:endParaRPr b="0" lang="ru-RU" sz="1800" spc="-1" strike="noStrike">
              <a:latin typeface="XO Oriel"/>
            </a:endParaRPr>
          </a:p>
          <a:p>
            <a:pPr marL="343080" indent="-343080">
              <a:lnSpc>
                <a:spcPct val="100000"/>
              </a:lnSpc>
              <a:buClr>
                <a:srgbClr val="333f48"/>
              </a:buClr>
              <a:buFont typeface="StarSymbol"/>
              <a:buAutoNum type="arabicPeriod"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Планирование дня сотрудников с помощью подсказок от ежедневных задач ИСУ</a:t>
            </a:r>
            <a:endParaRPr b="0" lang="ru-RU" sz="1800" spc="-1" strike="noStrike">
              <a:latin typeface="XO Oriel"/>
            </a:endParaRPr>
          </a:p>
        </p:txBody>
      </p:sp>
      <p:pic>
        <p:nvPicPr>
          <p:cNvPr id="249" name="Рисунок 2" descr=""/>
          <p:cNvPicPr/>
          <p:nvPr/>
        </p:nvPicPr>
        <p:blipFill>
          <a:blip r:embed="rId1"/>
          <a:stretch/>
        </p:blipFill>
        <p:spPr>
          <a:xfrm>
            <a:off x="6327360" y="223200"/>
            <a:ext cx="5891040" cy="6423120"/>
          </a:xfrm>
          <a:prstGeom prst="rect">
            <a:avLst/>
          </a:prstGeom>
          <a:ln w="0">
            <a:noFill/>
          </a:ln>
        </p:spPr>
      </p:pic>
      <p:sp>
        <p:nvSpPr>
          <p:cNvPr id="250" name="Скругленный прямоугольник 39"/>
          <p:cNvSpPr/>
          <p:nvPr/>
        </p:nvSpPr>
        <p:spPr>
          <a:xfrm>
            <a:off x="964800" y="23256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1. Функциональный блок «Назначение мер социальной поддержки» 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51" name="Скругленный прямоугольник 39"/>
          <p:cNvSpPr/>
          <p:nvPr/>
        </p:nvSpPr>
        <p:spPr>
          <a:xfrm>
            <a:off x="954000" y="232560"/>
            <a:ext cx="996948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1. Функциональный блок «Назначение мер социальной поддержки» </a:t>
            </a:r>
            <a:endParaRPr b="0" lang="ru-RU" sz="1800" spc="-1" strike="noStrike">
              <a:latin typeface="XO Oriel"/>
            </a:endParaRPr>
          </a:p>
        </p:txBody>
      </p:sp>
    </p:spTree>
  </p:cSld>
  <p:transition spd="slow">
    <p:fade/>
  </p:transition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53" name="TextBox 4"/>
          <p:cNvSpPr/>
          <p:nvPr/>
        </p:nvSpPr>
        <p:spPr>
          <a:xfrm>
            <a:off x="3140640" y="1435320"/>
            <a:ext cx="6824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выставленных задач ИСУ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54" name="TextBox 7"/>
          <p:cNvSpPr/>
          <p:nvPr/>
        </p:nvSpPr>
        <p:spPr>
          <a:xfrm>
            <a:off x="3140640" y="3989520"/>
            <a:ext cx="661896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сотрудников, получивших задачи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55" name="TextBox 8"/>
          <p:cNvSpPr/>
          <p:nvPr/>
        </p:nvSpPr>
        <p:spPr>
          <a:xfrm>
            <a:off x="3140640" y="5266800"/>
            <a:ext cx="4912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отрудников, попавших в отклонения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56" name="TextBox 9"/>
          <p:cNvSpPr/>
          <p:nvPr/>
        </p:nvSpPr>
        <p:spPr>
          <a:xfrm>
            <a:off x="3140640" y="2712240"/>
            <a:ext cx="68245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Количество используемых алгоритмов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57" name="TextBox 10"/>
          <p:cNvSpPr/>
          <p:nvPr/>
        </p:nvSpPr>
        <p:spPr>
          <a:xfrm>
            <a:off x="1181880" y="240372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10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258" name="TextBox 11"/>
          <p:cNvSpPr/>
          <p:nvPr/>
        </p:nvSpPr>
        <p:spPr>
          <a:xfrm>
            <a:off x="450720" y="115812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25056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259" name="TextBox 12"/>
          <p:cNvSpPr/>
          <p:nvPr/>
        </p:nvSpPr>
        <p:spPr>
          <a:xfrm>
            <a:off x="858240" y="367704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271</a:t>
            </a:r>
            <a:endParaRPr b="0" lang="ru-RU" sz="5400" spc="-1" strike="noStrike">
              <a:latin typeface="XO Oriel"/>
            </a:endParaRPr>
          </a:p>
        </p:txBody>
      </p:sp>
      <p:sp>
        <p:nvSpPr>
          <p:cNvPr id="260" name="TextBox 13"/>
          <p:cNvSpPr/>
          <p:nvPr/>
        </p:nvSpPr>
        <p:spPr>
          <a:xfrm>
            <a:off x="858240" y="5046480"/>
            <a:ext cx="254340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1" lang="ru-RU" sz="5400" spc="-1" strike="noStrike">
                <a:solidFill>
                  <a:srgbClr val="c00000"/>
                </a:solidFill>
                <a:latin typeface="Georgia"/>
                <a:ea typeface="DejaVu Sans"/>
              </a:rPr>
              <a:t>292</a:t>
            </a:r>
            <a:endParaRPr b="0" lang="ru-RU" sz="5400" spc="-1" strike="noStrike">
              <a:latin typeface="XO Oriel"/>
            </a:endParaRPr>
          </a:p>
        </p:txBody>
      </p:sp>
      <p:pic>
        <p:nvPicPr>
          <p:cNvPr id="261" name="Рисунок 2" descr=""/>
          <p:cNvPicPr/>
          <p:nvPr/>
        </p:nvPicPr>
        <p:blipFill>
          <a:blip r:embed="rId1"/>
          <a:stretch/>
        </p:blipFill>
        <p:spPr>
          <a:xfrm>
            <a:off x="6321240" y="104400"/>
            <a:ext cx="5891040" cy="6423120"/>
          </a:xfrm>
          <a:prstGeom prst="rect">
            <a:avLst/>
          </a:prstGeom>
          <a:ln w="0">
            <a:noFill/>
          </a:ln>
        </p:spPr>
      </p:pic>
      <p:sp>
        <p:nvSpPr>
          <p:cNvPr id="262" name="Скругленный прямоугольник 39"/>
          <p:cNvSpPr/>
          <p:nvPr/>
        </p:nvSpPr>
        <p:spPr>
          <a:xfrm>
            <a:off x="878760" y="388080"/>
            <a:ext cx="10474560" cy="513000"/>
          </a:xfrm>
          <a:prstGeom prst="roundRect">
            <a:avLst>
              <a:gd name="adj" fmla="val 50000"/>
            </a:avLst>
          </a:prstGeom>
          <a:gradFill rotWithShape="0">
            <a:gsLst>
              <a:gs pos="0">
                <a:srgbClr val="51bde8"/>
              </a:gs>
              <a:gs pos="100000">
                <a:srgbClr val="5ca0bb"/>
              </a:gs>
            </a:gsLst>
            <a:lin ang="5400000"/>
          </a:gradFill>
          <a:ln>
            <a:noFill/>
          </a:ln>
          <a:effectLst>
            <a:outerShdw algn="t" blurRad="127080" dir="5400000" dist="38160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rIns="90000" tIns="45000" bIns="45000" anchor="ctr">
            <a:noAutofit/>
          </a:bodyPr>
          <a:p>
            <a:pPr algn="ctr">
              <a:lnSpc>
                <a:spcPct val="100000"/>
              </a:lnSpc>
              <a:buNone/>
              <a:tabLst>
                <a:tab algn="l" pos="0"/>
              </a:tabLst>
            </a:pPr>
            <a:r>
              <a:rPr b="0" lang="ru-RU" sz="1800" spc="-1" strike="noStrike">
                <a:solidFill>
                  <a:srgbClr val="ffffff"/>
                </a:solidFill>
                <a:latin typeface="SB Sans Display"/>
                <a:ea typeface="DejaVu Sans"/>
              </a:rPr>
              <a:t>Масштаб внедрения ИСУ в блоке «Назначение мер социальной поддержки»  - итоги 2022 г.</a:t>
            </a:r>
            <a:endParaRPr b="0" lang="ru-RU" sz="1800" spc="-1" strike="noStrike">
              <a:latin typeface="XO Oriel"/>
            </a:endParaRPr>
          </a:p>
        </p:txBody>
      </p:sp>
    </p:spTree>
  </p:cSld>
  <p:transition spd="slow">
    <p:fade/>
  </p:transition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Заголовок 1"/>
          <p:cNvSpPr/>
          <p:nvPr/>
        </p:nvSpPr>
        <p:spPr>
          <a:xfrm>
            <a:off x="163080" y="14796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64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65" name="TextBox 10"/>
          <p:cNvSpPr/>
          <p:nvPr/>
        </p:nvSpPr>
        <p:spPr>
          <a:xfrm>
            <a:off x="338040" y="5708160"/>
            <a:ext cx="1149480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До тиражирования ИСУ средняя доля возвратов 2%, после внедрения – 0,7%.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66" name="Заголовок 1"/>
          <p:cNvSpPr/>
          <p:nvPr/>
        </p:nvSpPr>
        <p:spPr>
          <a:xfrm>
            <a:off x="264240" y="260640"/>
            <a:ext cx="11737080" cy="791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Доля возвратов обращений на доработку снизилась на 65% после тиражирования ИСУ</a:t>
            </a:r>
            <a:endParaRPr b="0" lang="ru-RU" sz="2400" spc="-1" strike="noStrike">
              <a:latin typeface="XO Oriel"/>
            </a:endParaRPr>
          </a:p>
        </p:txBody>
      </p:sp>
      <p:graphicFrame>
        <p:nvGraphicFramePr>
          <p:cNvPr id="267" name="Диаграмма 7"/>
          <p:cNvGraphicFramePr/>
          <p:nvPr/>
        </p:nvGraphicFramePr>
        <p:xfrm>
          <a:off x="2587320" y="1116720"/>
          <a:ext cx="6479280" cy="4318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68" name="Прямая соединительная линия 2"/>
          <p:cNvSpPr/>
          <p:nvPr/>
        </p:nvSpPr>
        <p:spPr>
          <a:xfrm>
            <a:off x="4105080" y="1868760"/>
            <a:ext cx="19800" cy="2959920"/>
          </a:xfrm>
          <a:prstGeom prst="line">
            <a:avLst/>
          </a:prstGeom>
          <a:ln w="38100">
            <a:solidFill>
              <a:srgbClr val="333f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269" name="TextBox 4"/>
          <p:cNvSpPr/>
          <p:nvPr/>
        </p:nvSpPr>
        <p:spPr>
          <a:xfrm>
            <a:off x="4105080" y="1499400"/>
            <a:ext cx="2761920" cy="36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>
              <a:lnSpc>
                <a:spcPct val="100000"/>
              </a:lnSpc>
              <a:buNone/>
            </a:pPr>
            <a:r>
              <a:rPr b="0" lang="ru-RU" sz="1800" spc="-1" strike="noStrike">
                <a:solidFill>
                  <a:srgbClr val="333f48"/>
                </a:solidFill>
                <a:latin typeface="SB Sans Text"/>
                <a:ea typeface="DejaVu Sans"/>
              </a:rPr>
              <a:t>Старт тиража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Заголовок 1"/>
          <p:cNvSpPr/>
          <p:nvPr/>
        </p:nvSpPr>
        <p:spPr>
          <a:xfrm>
            <a:off x="163080" y="14796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71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pic>
        <p:nvPicPr>
          <p:cNvPr id="272" name="Рисунок 1" descr=""/>
          <p:cNvPicPr/>
          <p:nvPr/>
        </p:nvPicPr>
        <p:blipFill>
          <a:blip r:embed="rId1"/>
          <a:srcRect l="0" t="0" r="197" b="21967"/>
          <a:stretch/>
        </p:blipFill>
        <p:spPr>
          <a:xfrm>
            <a:off x="163080" y="869040"/>
            <a:ext cx="11503080" cy="5056920"/>
          </a:xfrm>
          <a:prstGeom prst="rect">
            <a:avLst/>
          </a:prstGeom>
          <a:ln w="0">
            <a:noFill/>
          </a:ln>
        </p:spPr>
      </p:pic>
      <p:sp>
        <p:nvSpPr>
          <p:cNvPr id="273" name="Заголовок 1"/>
          <p:cNvSpPr/>
          <p:nvPr/>
        </p:nvSpPr>
        <p:spPr>
          <a:xfrm>
            <a:off x="315360" y="16128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В контур ИСУ включены основные поставщики данных по СМЭВ</a:t>
            </a:r>
            <a:endParaRPr b="0" lang="ru-RU" sz="24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Заголовок 1"/>
          <p:cNvSpPr/>
          <p:nvPr/>
        </p:nvSpPr>
        <p:spPr>
          <a:xfrm>
            <a:off x="163080" y="14796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75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76" name="Заголовок 1"/>
          <p:cNvSpPr/>
          <p:nvPr/>
        </p:nvSpPr>
        <p:spPr>
          <a:xfrm>
            <a:off x="123840" y="10656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В контур ИСУ доступна аналитика по динамике длительности ответов по ведомству в целом, как и по конкретным запросам</a:t>
            </a:r>
            <a:endParaRPr b="0" lang="ru-RU" sz="2400" spc="-1" strike="noStrike">
              <a:latin typeface="XO Oriel"/>
            </a:endParaRPr>
          </a:p>
        </p:txBody>
      </p:sp>
      <p:pic>
        <p:nvPicPr>
          <p:cNvPr id="277" name="Рисунок 2" descr=""/>
          <p:cNvPicPr/>
          <p:nvPr/>
        </p:nvPicPr>
        <p:blipFill>
          <a:blip r:embed="rId1"/>
          <a:stretch/>
        </p:blipFill>
        <p:spPr>
          <a:xfrm>
            <a:off x="888120" y="930600"/>
            <a:ext cx="10237320" cy="575712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Заголовок 1"/>
          <p:cNvSpPr/>
          <p:nvPr/>
        </p:nvSpPr>
        <p:spPr>
          <a:xfrm>
            <a:off x="336240" y="0"/>
            <a:ext cx="1173312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Длительность получения ответов на СМЭВ запросы – важный рычаг скорости обработки обращений</a:t>
            </a:r>
            <a:endParaRPr b="0" lang="ru-RU" sz="2400" spc="-1" strike="noStrike">
              <a:latin typeface="XO Oriel"/>
            </a:endParaRPr>
          </a:p>
        </p:txBody>
      </p:sp>
      <p:graphicFrame>
        <p:nvGraphicFramePr>
          <p:cNvPr id="279" name="Диаграмма 5"/>
          <p:cNvGraphicFramePr/>
          <p:nvPr/>
        </p:nvGraphicFramePr>
        <p:xfrm>
          <a:off x="1783800" y="1026720"/>
          <a:ext cx="7701120" cy="43844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sp>
        <p:nvSpPr>
          <p:cNvPr id="280" name="TextBox 7"/>
          <p:cNvSpPr/>
          <p:nvPr/>
        </p:nvSpPr>
        <p:spPr>
          <a:xfrm>
            <a:off x="568800" y="5477040"/>
            <a:ext cx="10366560" cy="912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Корреляция между сроков обработки обращений и получения ответов по СМЭВ от ФНС – 0,66; от ПФР – 0,61.</a:t>
            </a:r>
            <a:endParaRPr b="0" lang="ru-RU" sz="1800" spc="-1" strike="noStrike">
              <a:latin typeface="XO Oriel"/>
            </a:endParaRPr>
          </a:p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Такие кф корреляции показывают высокий уровень взаимосвязи.</a:t>
            </a:r>
            <a:endParaRPr b="0" lang="ru-RU" sz="1800" spc="-1" strike="noStrike">
              <a:latin typeface="XO Orie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Заголовок 1"/>
          <p:cNvSpPr/>
          <p:nvPr/>
        </p:nvSpPr>
        <p:spPr>
          <a:xfrm>
            <a:off x="50760" y="-338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</p:sp>
      <p:sp>
        <p:nvSpPr>
          <p:cNvPr id="282" name="TextBox 10"/>
          <p:cNvSpPr/>
          <p:nvPr/>
        </p:nvSpPr>
        <p:spPr>
          <a:xfrm>
            <a:off x="228960" y="6113880"/>
            <a:ext cx="11494800" cy="6382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spAutoFit/>
          </a:bodyPr>
          <a:p>
            <a:pPr algn="ctr">
              <a:lnSpc>
                <a:spcPct val="100000"/>
              </a:lnSpc>
              <a:buNone/>
            </a:pPr>
            <a:r>
              <a:rPr b="1" lang="ru-RU" sz="1800" spc="-1" strike="noStrike">
                <a:solidFill>
                  <a:srgbClr val="1c1c1c"/>
                </a:solidFill>
                <a:latin typeface="Georgia"/>
                <a:ea typeface="DejaVu Sans"/>
              </a:rPr>
              <a:t>В информационную задачу попадают актуальные обращения в работе,  не взятые в работу, а также обращения по которым пришли ответы по СМЭВ.</a:t>
            </a:r>
            <a:endParaRPr b="0" lang="ru-RU" sz="1800" spc="-1" strike="noStrike">
              <a:latin typeface="XO Oriel"/>
            </a:endParaRPr>
          </a:p>
        </p:txBody>
      </p:sp>
      <p:sp>
        <p:nvSpPr>
          <p:cNvPr id="283" name="Заголовок 1"/>
          <p:cNvSpPr/>
          <p:nvPr/>
        </p:nvSpPr>
        <p:spPr>
          <a:xfrm>
            <a:off x="50760" y="73440"/>
            <a:ext cx="12069360" cy="8157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lIns="90000" rIns="90000" tIns="45000" bIns="45000" anchor="ctr">
            <a:noAutofit/>
          </a:bodyPr>
          <a:p>
            <a:pPr>
              <a:lnSpc>
                <a:spcPct val="100000"/>
              </a:lnSpc>
              <a:buNone/>
            </a:pPr>
            <a:r>
              <a:rPr b="1" lang="ru-RU" sz="2400" spc="-1" strike="noStrike">
                <a:solidFill>
                  <a:srgbClr val="333f48"/>
                </a:solidFill>
                <a:latin typeface="Georgia"/>
                <a:ea typeface="DejaVu Sans"/>
              </a:rPr>
              <a:t>Ежедневная информационная задача – инструмент стандартизации процесса и повышения качества обслуживания</a:t>
            </a:r>
            <a:endParaRPr b="0" lang="ru-RU" sz="2400" spc="-1" strike="noStrike">
              <a:latin typeface="XO Oriel"/>
            </a:endParaRPr>
          </a:p>
        </p:txBody>
      </p:sp>
      <p:pic>
        <p:nvPicPr>
          <p:cNvPr id="284" name="Рисунок 5" descr=""/>
          <p:cNvPicPr/>
          <p:nvPr/>
        </p:nvPicPr>
        <p:blipFill>
          <a:blip r:embed="rId1"/>
          <a:srcRect l="0" t="-182" r="12356" b="3731"/>
          <a:stretch/>
        </p:blipFill>
        <p:spPr>
          <a:xfrm>
            <a:off x="1279800" y="890640"/>
            <a:ext cx="8436960" cy="5222160"/>
          </a:xfrm>
          <a:prstGeom prst="rect">
            <a:avLst/>
          </a:prstGeom>
          <a:ln w="0">
            <a:solidFill>
              <a:srgbClr val="333f48"/>
            </a:solidFill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2626f"/>
      </a:dk2>
      <a:lt2>
        <a:srgbClr val="f9fbff"/>
      </a:lt2>
      <a:accent1>
        <a:srgbClr val="20b598"/>
      </a:accent1>
      <a:accent2>
        <a:srgbClr val="00766c"/>
      </a:accent2>
      <a:accent3>
        <a:srgbClr val="ffb138"/>
      </a:accent3>
      <a:accent4>
        <a:srgbClr val="0f5498"/>
      </a:accent4>
      <a:accent5>
        <a:srgbClr val="b57cbc"/>
      </a:accent5>
      <a:accent6>
        <a:srgbClr val="0c5059"/>
      </a:accent6>
      <a:hlink>
        <a:srgbClr val="20b598"/>
      </a:hlink>
      <a:folHlink>
        <a:srgbClr val="778d9e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2626f"/>
      </a:dk2>
      <a:lt2>
        <a:srgbClr val="f9fbff"/>
      </a:lt2>
      <a:accent1>
        <a:srgbClr val="20b598"/>
      </a:accent1>
      <a:accent2>
        <a:srgbClr val="00766c"/>
      </a:accent2>
      <a:accent3>
        <a:srgbClr val="ffb138"/>
      </a:accent3>
      <a:accent4>
        <a:srgbClr val="0f5498"/>
      </a:accent4>
      <a:accent5>
        <a:srgbClr val="b57cbc"/>
      </a:accent5>
      <a:accent6>
        <a:srgbClr val="0c5059"/>
      </a:accent6>
      <a:hlink>
        <a:srgbClr val="20b598"/>
      </a:hlink>
      <a:folHlink>
        <a:srgbClr val="778d9e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2626f"/>
      </a:dk2>
      <a:lt2>
        <a:srgbClr val="f9fbff"/>
      </a:lt2>
      <a:accent1>
        <a:srgbClr val="20b598"/>
      </a:accent1>
      <a:accent2>
        <a:srgbClr val="00766c"/>
      </a:accent2>
      <a:accent3>
        <a:srgbClr val="ffb138"/>
      </a:accent3>
      <a:accent4>
        <a:srgbClr val="0f5498"/>
      </a:accent4>
      <a:accent5>
        <a:srgbClr val="b57cbc"/>
      </a:accent5>
      <a:accent6>
        <a:srgbClr val="0c5059"/>
      </a:accent6>
      <a:hlink>
        <a:srgbClr val="20b598"/>
      </a:hlink>
      <a:folHlink>
        <a:srgbClr val="778d9e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2626f"/>
      </a:dk2>
      <a:lt2>
        <a:srgbClr val="f9fbff"/>
      </a:lt2>
      <a:accent1>
        <a:srgbClr val="20b598"/>
      </a:accent1>
      <a:accent2>
        <a:srgbClr val="00766c"/>
      </a:accent2>
      <a:accent3>
        <a:srgbClr val="ffb138"/>
      </a:accent3>
      <a:accent4>
        <a:srgbClr val="0f5498"/>
      </a:accent4>
      <a:accent5>
        <a:srgbClr val="b57cbc"/>
      </a:accent5>
      <a:accent6>
        <a:srgbClr val="0c5059"/>
      </a:accent6>
      <a:hlink>
        <a:srgbClr val="20b598"/>
      </a:hlink>
      <a:folHlink>
        <a:srgbClr val="778d9e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52626f"/>
      </a:dk2>
      <a:lt2>
        <a:srgbClr val="f9fbff"/>
      </a:lt2>
      <a:accent1>
        <a:srgbClr val="20b598"/>
      </a:accent1>
      <a:accent2>
        <a:srgbClr val="00766c"/>
      </a:accent2>
      <a:accent3>
        <a:srgbClr val="ffb138"/>
      </a:accent3>
      <a:accent4>
        <a:srgbClr val="0f5498"/>
      </a:accent4>
      <a:accent5>
        <a:srgbClr val="b57cbc"/>
      </a:accent5>
      <a:accent6>
        <a:srgbClr val="0c5059"/>
      </a:accent6>
      <a:hlink>
        <a:srgbClr val="20b598"/>
      </a:hlink>
      <a:folHlink>
        <a:srgbClr val="778d9e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5472</TotalTime>
  <Application>Редактор_презентаций/2.2.0.0$Windows_x86 LibreOffice_project/619128f23ebf8e7867bcca7f08c234096b5d1278</Application>
  <AppVersion>15.0000</AppVersion>
  <Words>857</Words>
  <Paragraphs>136</Paragraphs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2-04-04T13:58:02Z</dcterms:created>
  <dc:creator>Сидоров Никита Вадимович</dc:creator>
  <dc:description/>
  <dc:language>ru-RU</dc:language>
  <cp:lastModifiedBy/>
  <dcterms:modified xsi:type="dcterms:W3CDTF">2023-07-18T11:39:05Z</dcterms:modified>
  <cp:revision>387</cp:revision>
  <dc:subject/>
  <dc:title>Презентация PowerPoint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5</vt:i4>
  </property>
  <property fmtid="{D5CDD505-2E9C-101B-9397-08002B2CF9AE}" pid="3" name="PresentationFormat">
    <vt:lpwstr>Произвольный</vt:lpwstr>
  </property>
  <property fmtid="{D5CDD505-2E9C-101B-9397-08002B2CF9AE}" pid="4" name="Slides">
    <vt:i4>17</vt:i4>
  </property>
</Properties>
</file>